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50" r:id="rId4"/>
  </p:sldMasterIdLst>
  <p:notesMasterIdLst>
    <p:notesMasterId r:id="rId13"/>
  </p:notesMasterIdLst>
  <p:handoutMasterIdLst>
    <p:handoutMasterId r:id="rId14"/>
  </p:handoutMasterIdLst>
  <p:sldIdLst>
    <p:sldId id="332" r:id="rId5"/>
    <p:sldId id="11775" r:id="rId6"/>
    <p:sldId id="11783" r:id="rId7"/>
    <p:sldId id="11767" r:id="rId8"/>
    <p:sldId id="11781" r:id="rId9"/>
    <p:sldId id="11749" r:id="rId10"/>
    <p:sldId id="11778" r:id="rId11"/>
    <p:sldId id="342" r:id="rId12"/>
  </p:sldIdLst>
  <p:sldSz cx="10691813" cy="7559675"/>
  <p:notesSz cx="7315200" cy="9601200"/>
  <p:custDataLst>
    <p:tags r:id="rId15"/>
  </p:custDataLst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998" userDrawn="1">
          <p15:clr>
            <a:srgbClr val="A4A3A4"/>
          </p15:clr>
        </p15:guide>
        <p15:guide id="4" orient="horz" pos="4195" userDrawn="1">
          <p15:clr>
            <a:srgbClr val="A4A3A4"/>
          </p15:clr>
        </p15:guide>
        <p15:guide id="5" orient="horz" pos="113" userDrawn="1">
          <p15:clr>
            <a:srgbClr val="A4A3A4"/>
          </p15:clr>
        </p15:guide>
        <p15:guide id="7" orient="horz" pos="4649" userDrawn="1">
          <p15:clr>
            <a:srgbClr val="A4A3A4"/>
          </p15:clr>
        </p15:guide>
        <p15:guide id="8" pos="3368" userDrawn="1">
          <p15:clr>
            <a:srgbClr val="A4A3A4"/>
          </p15:clr>
        </p15:guide>
        <p15:guide id="9" pos="238" userDrawn="1">
          <p15:clr>
            <a:srgbClr val="A4A3A4"/>
          </p15:clr>
        </p15:guide>
        <p15:guide id="10" pos="6565" userDrawn="1">
          <p15:clr>
            <a:srgbClr val="A4A3A4"/>
          </p15:clr>
        </p15:guide>
        <p15:guide id="11" pos="3458" userDrawn="1">
          <p15:clr>
            <a:srgbClr val="A4A3A4"/>
          </p15:clr>
        </p15:guide>
        <p15:guide id="12" pos="10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hor" initials="A" lastIdx="14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2F2F9"/>
    <a:srgbClr val="63B8FF"/>
    <a:srgbClr val="0B5686"/>
    <a:srgbClr val="188CE5"/>
    <a:srgbClr val="FE7562"/>
    <a:srgbClr val="F1B9B1"/>
    <a:srgbClr val="F5796F"/>
    <a:srgbClr val="95C13D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098CBF-F23C-4229-993A-DDE6C0BDD57E}" v="41" dt="2021-05-26T12:08:10.800"/>
    <p1510:client id="{41C701E1-F9CE-44F7-8084-F2B8F11F9FA0}" v="3" dt="2021-05-27T10:45:12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4" autoAdjust="0"/>
    <p:restoredTop sz="96940" autoAdjust="0"/>
  </p:normalViewPr>
  <p:slideViewPr>
    <p:cSldViewPr snapToGrid="0" snapToObjects="1" showGuides="1">
      <p:cViewPr varScale="1">
        <p:scale>
          <a:sx n="100" d="100"/>
          <a:sy n="100" d="100"/>
        </p:scale>
        <p:origin x="1434" y="90"/>
      </p:cViewPr>
      <p:guideLst>
        <p:guide orient="horz" pos="998"/>
        <p:guide orient="horz" pos="4195"/>
        <p:guide orient="horz" pos="113"/>
        <p:guide orient="horz" pos="4649"/>
        <p:guide pos="3368"/>
        <p:guide pos="238"/>
        <p:guide pos="6565"/>
        <p:guide pos="3458"/>
        <p:guide pos="10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200" d="100"/>
          <a:sy n="200" d="100"/>
        </p:scale>
        <p:origin x="-413" y="-4171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DA-4FAA-9E8A-1691B4CF74D1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EDA-4FAA-9E8A-1691B4CF74D1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EDA-4FAA-9E8A-1691B4CF74D1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DA-4FAA-9E8A-1691B4CF74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2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EDA-4FAA-9E8A-1691B4CF7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E79-4A70-A1B1-E8EAB590D3E9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E79-4A70-A1B1-E8EAB590D3E9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E79-4A70-A1B1-E8EAB590D3E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E79-4A70-A1B1-E8EAB590D3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79-4A70-A1B1-E8EAB590D3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fr-F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69-4F25-8A00-A3EA9D5EE3BE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69-4F25-8A00-A3EA9D5EE3BE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A69-4F25-8A00-A3EA9D5EE3BE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A69-4F25-8A00-A3EA9D5EE3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69-4F25-8A00-A3EA9D5EE3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A69-4F25-8A00-A3EA9D5EE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3AA-4B1F-A371-1A60DA4B7B73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3AA-4B1F-A371-1A60DA4B7B73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3AA-4B1F-A371-1A60DA4B7B73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AA-4B1F-A371-1A60DA4B7B7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3AA-4B1F-A371-1A60DA4B7B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3AA-4B1F-A371-1A60DA4B7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93F-46A6-B85F-56787C20ACE5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93F-46A6-B85F-56787C20ACE5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93F-46A6-B85F-56787C20ACE5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93F-46A6-B85F-56787C20AC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2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93F-46A6-B85F-56787C20AC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27/05/2021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7/05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2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05C72F60-180F-4399-B2F2-34D6FE90A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405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34" imgH="234" progId="TCLayout.ActiveDocument.1">
                  <p:embed/>
                </p:oleObj>
              </mc:Choice>
              <mc:Fallback>
                <p:oleObj name="think-cell Slide" r:id="rId4" imgW="234" imgH="23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05C72F60-180F-4399-B2F2-34D6FE90A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80373F2-2490-4A5F-9484-565764494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97" r="1123"/>
          <a:stretch/>
        </p:blipFill>
        <p:spPr>
          <a:xfrm>
            <a:off x="1" y="0"/>
            <a:ext cx="10691812" cy="7559675"/>
          </a:xfrm>
          <a:prstGeom prst="rect">
            <a:avLst/>
          </a:prstGeom>
        </p:spPr>
      </p:pic>
      <p:sp>
        <p:nvSpPr>
          <p:cNvPr id="14" name="Freeform 7">
            <a:extLst>
              <a:ext uri="{FF2B5EF4-FFF2-40B4-BE49-F238E27FC236}">
                <a16:creationId xmlns:a16="http://schemas.microsoft.com/office/drawing/2014/main" id="{E295843B-8BFF-485D-8C82-4C454B15C18A}"/>
              </a:ext>
            </a:extLst>
          </p:cNvPr>
          <p:cNvSpPr>
            <a:spLocks/>
          </p:cNvSpPr>
          <p:nvPr userDrawn="1"/>
        </p:nvSpPr>
        <p:spPr bwMode="auto">
          <a:xfrm>
            <a:off x="549620" y="833435"/>
            <a:ext cx="3721100" cy="3136900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3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59081" y="2457932"/>
            <a:ext cx="3340874" cy="711811"/>
          </a:xfrm>
        </p:spPr>
        <p:txBody>
          <a:bodyPr vert="horz"/>
          <a:lstStyle>
            <a:lvl1pPr>
              <a:defRPr sz="2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20 point)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5652" y="5918277"/>
            <a:ext cx="1154567" cy="1275696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804A1E7B-716F-4269-A6B0-3C836BF3270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501" y="6616775"/>
            <a:ext cx="991130" cy="573015"/>
          </a:xfrm>
          <a:prstGeom prst="rect">
            <a:avLst/>
          </a:prstGeom>
        </p:spPr>
      </p:pic>
      <p:pic>
        <p:nvPicPr>
          <p:cNvPr id="1026" name="Picture 2" descr="Acsantis | Les nouvelles organisations en santé">
            <a:extLst>
              <a:ext uri="{FF2B5EF4-FFF2-40B4-BE49-F238E27FC236}">
                <a16:creationId xmlns:a16="http://schemas.microsoft.com/office/drawing/2014/main" id="{68F66334-3A2E-4540-8F4A-132208F6255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19302" r="9876" b="19069"/>
          <a:stretch/>
        </p:blipFill>
        <p:spPr bwMode="auto">
          <a:xfrm>
            <a:off x="7547138" y="6304377"/>
            <a:ext cx="1315509" cy="986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D263C075-EAFE-4180-9054-3DB662CF7551}"/>
              </a:ext>
            </a:extLst>
          </p:cNvPr>
          <p:cNvSpPr txBox="1">
            <a:spLocks/>
          </p:cNvSpPr>
          <p:nvPr userDrawn="1"/>
        </p:nvSpPr>
        <p:spPr>
          <a:xfrm>
            <a:off x="759081" y="1490618"/>
            <a:ext cx="3468218" cy="71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kern="1200">
                <a:solidFill>
                  <a:srgbClr val="404040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15" indent="0" algn="ctr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22" indent="0" algn="ctr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30" indent="0" algn="ctr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37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45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52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60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Etude relative à la déclinaison régionale de la réforme des hôpitaux de proximité en Pays de la Loire</a:t>
            </a:r>
            <a:endParaRPr lang="en-GB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32CCE12-F261-4B9E-82C2-8707CC6EF0A3}"/>
              </a:ext>
            </a:extLst>
          </p:cNvPr>
          <p:cNvSpPr txBox="1"/>
          <p:nvPr userDrawn="1"/>
        </p:nvSpPr>
        <p:spPr>
          <a:xfrm>
            <a:off x="759081" y="3624607"/>
            <a:ext cx="3468218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fr-FR" sz="1600" b="1" dirty="0">
                <a:solidFill>
                  <a:schemeClr val="bg1"/>
                </a:solidFill>
              </a:rPr>
              <a:t>Mai 2021</a:t>
            </a:r>
          </a:p>
        </p:txBody>
      </p:sp>
    </p:spTree>
    <p:extLst>
      <p:ext uri="{BB962C8B-B14F-4D97-AF65-F5344CB8AC3E}">
        <p14:creationId xmlns:p14="http://schemas.microsoft.com/office/powerpoint/2010/main" val="316495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492" userDrawn="1">
          <p15:clr>
            <a:srgbClr val="FBAE40"/>
          </p15:clr>
        </p15:guide>
        <p15:guide id="3" orient="horz" pos="452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12170C-CE44-4511-BCD5-0479529AB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40" b="36434"/>
          <a:stretch/>
        </p:blipFill>
        <p:spPr>
          <a:xfrm>
            <a:off x="-11722" y="0"/>
            <a:ext cx="10691813" cy="1055956"/>
          </a:xfrm>
          <a:prstGeom prst="rect">
            <a:avLst/>
          </a:prstGeom>
          <a:gradFill>
            <a:gsLst>
              <a:gs pos="64000">
                <a:schemeClr val="tx1"/>
              </a:gs>
              <a:gs pos="32000">
                <a:schemeClr val="tx1"/>
              </a:gs>
            </a:gsLst>
            <a:lin ang="5400000" scaled="1"/>
          </a:gra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0" y="375139"/>
            <a:ext cx="8452339" cy="5287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pic>
        <p:nvPicPr>
          <p:cNvPr id="10" name="Picture 2" descr="Acsantis | Les nouvelles organisations en santé">
            <a:extLst>
              <a:ext uri="{FF2B5EF4-FFF2-40B4-BE49-F238E27FC236}">
                <a16:creationId xmlns:a16="http://schemas.microsoft.com/office/drawing/2014/main" id="{883F9C6E-956E-4133-8C45-F45E5C8A09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19302" r="9876" b="19069"/>
          <a:stretch/>
        </p:blipFill>
        <p:spPr bwMode="auto">
          <a:xfrm>
            <a:off x="8765628" y="7068282"/>
            <a:ext cx="532344" cy="399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4A7F1DB-477B-44FE-9DD7-408D1D9B1B44}"/>
              </a:ext>
            </a:extLst>
          </p:cNvPr>
          <p:cNvSpPr txBox="1"/>
          <p:nvPr userDrawn="1"/>
        </p:nvSpPr>
        <p:spPr>
          <a:xfrm>
            <a:off x="228602" y="7217621"/>
            <a:ext cx="447675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fld id="{27C85BA7-A2E8-475C-AD42-ED6C6D6B1A8C}" type="slidenum">
              <a:rPr lang="fr-FR" sz="1200" smtClean="0">
                <a:solidFill>
                  <a:schemeClr val="bg2"/>
                </a:solidFill>
              </a:rPr>
              <a:pPr marL="0" indent="0"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itchFamily="34" charset="0"/>
                <a:buNone/>
              </a:pPr>
              <a:t>‹#›</a:t>
            </a:fld>
            <a:endParaRPr lang="fr-FR" sz="1200" dirty="0" err="1">
              <a:solidFill>
                <a:schemeClr val="bg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57C6B34-5963-4399-8392-58801947FCD0}"/>
              </a:ext>
            </a:extLst>
          </p:cNvPr>
          <p:cNvCxnSpPr/>
          <p:nvPr userDrawn="1"/>
        </p:nvCxnSpPr>
        <p:spPr>
          <a:xfrm>
            <a:off x="714375" y="7186711"/>
            <a:ext cx="0" cy="249921"/>
          </a:xfrm>
          <a:prstGeom prst="line">
            <a:avLst/>
          </a:prstGeom>
          <a:ln w="38100">
            <a:solidFill>
              <a:srgbClr val="FF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図 7">
            <a:extLst>
              <a:ext uri="{FF2B5EF4-FFF2-40B4-BE49-F238E27FC236}">
                <a16:creationId xmlns:a16="http://schemas.microsoft.com/office/drawing/2014/main" id="{B2F6816F-83C2-4855-A2EE-CE03F3D5FE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6901" y="805372"/>
            <a:ext cx="11849100" cy="3092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2225A3-4918-4E7B-BBEB-933318AE5B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723"/>
            <a:ext cx="1828800" cy="1048022"/>
          </a:xfrm>
          <a:prstGeom prst="rect">
            <a:avLst/>
          </a:prstGeom>
        </p:spPr>
      </p:pic>
      <p:grpSp>
        <p:nvGrpSpPr>
          <p:cNvPr id="21" name="Group 4">
            <a:extLst>
              <a:ext uri="{FF2B5EF4-FFF2-40B4-BE49-F238E27FC236}">
                <a16:creationId xmlns:a16="http://schemas.microsoft.com/office/drawing/2014/main" id="{39A2190E-D341-4851-9E88-8E15B3A7FA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782" y="6975067"/>
            <a:ext cx="470440" cy="455109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F6F30B13-BCBB-4E22-AA58-CDA85EB31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4F389483-DDCD-44CD-8F7A-1754C409B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6651404-9EAE-46C7-AED5-63B239BF03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</p:grpSp>
    </p:spTree>
    <p:extLst>
      <p:ext uri="{BB962C8B-B14F-4D97-AF65-F5344CB8AC3E}">
        <p14:creationId xmlns:p14="http://schemas.microsoft.com/office/powerpoint/2010/main" val="482190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B16B7B-9FF0-45A0-9C81-7BC9C9304B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863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B16B7B-9FF0-45A0-9C81-7BC9C9304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712170C-CE44-4511-BCD5-0479529AB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40" b="36434"/>
          <a:stretch/>
        </p:blipFill>
        <p:spPr>
          <a:xfrm>
            <a:off x="-11722" y="0"/>
            <a:ext cx="10691813" cy="1055956"/>
          </a:xfrm>
          <a:prstGeom prst="rect">
            <a:avLst/>
          </a:prstGeom>
          <a:gradFill>
            <a:gsLst>
              <a:gs pos="64000">
                <a:schemeClr val="tx1"/>
              </a:gs>
              <a:gs pos="32000">
                <a:schemeClr val="tx1"/>
              </a:gs>
            </a:gsLst>
            <a:lin ang="5400000" scaled="1"/>
          </a:gradFill>
        </p:spPr>
      </p:pic>
      <p:pic>
        <p:nvPicPr>
          <p:cNvPr id="10" name="Picture 2" descr="Acsantis | Les nouvelles organisations en santé">
            <a:extLst>
              <a:ext uri="{FF2B5EF4-FFF2-40B4-BE49-F238E27FC236}">
                <a16:creationId xmlns:a16="http://schemas.microsoft.com/office/drawing/2014/main" id="{883F9C6E-956E-4133-8C45-F45E5C8A09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19302" r="9876" b="19069"/>
          <a:stretch/>
        </p:blipFill>
        <p:spPr bwMode="auto">
          <a:xfrm>
            <a:off x="8765628" y="7068282"/>
            <a:ext cx="532344" cy="399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4A7F1DB-477B-44FE-9DD7-408D1D9B1B44}"/>
              </a:ext>
            </a:extLst>
          </p:cNvPr>
          <p:cNvSpPr txBox="1"/>
          <p:nvPr userDrawn="1"/>
        </p:nvSpPr>
        <p:spPr>
          <a:xfrm>
            <a:off x="228602" y="7217621"/>
            <a:ext cx="447675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fld id="{27C85BA7-A2E8-475C-AD42-ED6C6D6B1A8C}" type="slidenum">
              <a:rPr lang="fr-FR" sz="1200" smtClean="0">
                <a:solidFill>
                  <a:schemeClr val="bg2"/>
                </a:solidFill>
              </a:rPr>
              <a:pPr marL="0" indent="0"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itchFamily="34" charset="0"/>
                <a:buNone/>
              </a:pPr>
              <a:t>‹#›</a:t>
            </a:fld>
            <a:endParaRPr lang="fr-FR" sz="1200" dirty="0" err="1">
              <a:solidFill>
                <a:schemeClr val="bg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57C6B34-5963-4399-8392-58801947FCD0}"/>
              </a:ext>
            </a:extLst>
          </p:cNvPr>
          <p:cNvCxnSpPr/>
          <p:nvPr userDrawn="1"/>
        </p:nvCxnSpPr>
        <p:spPr>
          <a:xfrm>
            <a:off x="714375" y="7186711"/>
            <a:ext cx="0" cy="249921"/>
          </a:xfrm>
          <a:prstGeom prst="line">
            <a:avLst/>
          </a:prstGeom>
          <a:ln w="38100">
            <a:solidFill>
              <a:srgbClr val="FF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図 7">
            <a:extLst>
              <a:ext uri="{FF2B5EF4-FFF2-40B4-BE49-F238E27FC236}">
                <a16:creationId xmlns:a16="http://schemas.microsoft.com/office/drawing/2014/main" id="{B2F6816F-83C2-4855-A2EE-CE03F3D5FE9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6901" y="805372"/>
            <a:ext cx="11849100" cy="3092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2225A3-4918-4E7B-BBEB-933318AE5B1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723"/>
            <a:ext cx="1828800" cy="1048022"/>
          </a:xfrm>
          <a:prstGeom prst="rect">
            <a:avLst/>
          </a:prstGeom>
        </p:spPr>
      </p:pic>
      <p:grpSp>
        <p:nvGrpSpPr>
          <p:cNvPr id="21" name="Group 4">
            <a:extLst>
              <a:ext uri="{FF2B5EF4-FFF2-40B4-BE49-F238E27FC236}">
                <a16:creationId xmlns:a16="http://schemas.microsoft.com/office/drawing/2014/main" id="{39A2190E-D341-4851-9E88-8E15B3A7FA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782" y="6975067"/>
            <a:ext cx="470440" cy="455109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F6F30B13-BCBB-4E22-AA58-CDA85EB31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4F389483-DDCD-44CD-8F7A-1754C409B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6651404-9EAE-46C7-AED5-63B239BF03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</p:grpSp>
      <p:sp>
        <p:nvSpPr>
          <p:cNvPr id="16" name="Title 6">
            <a:extLst>
              <a:ext uri="{FF2B5EF4-FFF2-40B4-BE49-F238E27FC236}">
                <a16:creationId xmlns:a16="http://schemas.microsoft.com/office/drawing/2014/main" id="{E6D08A8F-FC6E-434C-B240-AC0E2FC45D34}"/>
              </a:ext>
            </a:extLst>
          </p:cNvPr>
          <p:cNvSpPr txBox="1">
            <a:spLocks/>
          </p:cNvSpPr>
          <p:nvPr userDrawn="1"/>
        </p:nvSpPr>
        <p:spPr>
          <a:xfrm>
            <a:off x="1840522" y="422069"/>
            <a:ext cx="8452339" cy="5287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44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/>
              <a:t>Indicateurs géo-populationnels du territoire département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7C2CD3-6CA3-476F-949C-9F59644ACEC9}"/>
              </a:ext>
            </a:extLst>
          </p:cNvPr>
          <p:cNvSpPr txBox="1"/>
          <p:nvPr userDrawn="1"/>
        </p:nvSpPr>
        <p:spPr>
          <a:xfrm>
            <a:off x="1456662" y="3067093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nsité de population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 err="1">
                <a:solidFill>
                  <a:schemeClr val="bg1"/>
                </a:solidFill>
              </a:rPr>
              <a:t>Hab</a:t>
            </a:r>
            <a:r>
              <a:rPr lang="fr-FR" sz="1200" dirty="0">
                <a:solidFill>
                  <a:schemeClr val="bg1"/>
                </a:solidFill>
              </a:rPr>
              <a:t>/km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686DC6-773F-48E3-809B-EB9C1D98C944}"/>
              </a:ext>
            </a:extLst>
          </p:cNvPr>
          <p:cNvSpPr txBox="1"/>
          <p:nvPr userDrawn="1"/>
        </p:nvSpPr>
        <p:spPr>
          <a:xfrm>
            <a:off x="3537848" y="3062770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nsité médecins 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F980BC0-7A86-4148-A4EA-7790C8789F50}"/>
              </a:ext>
            </a:extLst>
          </p:cNvPr>
          <p:cNvSpPr txBox="1"/>
          <p:nvPr userDrawn="1"/>
        </p:nvSpPr>
        <p:spPr>
          <a:xfrm>
            <a:off x="7844250" y="3067093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nsité d’IDE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E61BD7-B5A3-4318-9EB2-373671798143}"/>
              </a:ext>
            </a:extLst>
          </p:cNvPr>
          <p:cNvSpPr txBox="1"/>
          <p:nvPr userDrawn="1"/>
        </p:nvSpPr>
        <p:spPr>
          <a:xfrm>
            <a:off x="1707194" y="5272681"/>
            <a:ext cx="1546370" cy="97565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Taux de </a:t>
            </a:r>
            <a:r>
              <a:rPr lang="fr-FR" sz="1200" dirty="0" err="1">
                <a:solidFill>
                  <a:schemeClr val="bg1"/>
                </a:solidFill>
              </a:rPr>
              <a:t>réhospitalisations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 1 à 30 jours*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hospitalis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C8922F6-BDE2-4C2A-97A7-7264F4D7D873}"/>
              </a:ext>
            </a:extLst>
          </p:cNvPr>
          <p:cNvSpPr txBox="1"/>
          <p:nvPr userDrawn="1"/>
        </p:nvSpPr>
        <p:spPr>
          <a:xfrm>
            <a:off x="3563681" y="5275149"/>
            <a:ext cx="1796902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Taux d’hospitalisations potentiellement évitables*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F7B41FD-AD45-44A6-B3C5-8C8F16C4CE3E}"/>
              </a:ext>
            </a:extLst>
          </p:cNvPr>
          <p:cNvSpPr txBox="1"/>
          <p:nvPr userDrawn="1"/>
        </p:nvSpPr>
        <p:spPr>
          <a:xfrm>
            <a:off x="208234" y="2423265"/>
            <a:ext cx="1435395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France métropolitaine</a:t>
            </a:r>
          </a:p>
        </p:txBody>
      </p:sp>
      <p:pic>
        <p:nvPicPr>
          <p:cNvPr id="31" name="Graphic 30" descr="Research">
            <a:extLst>
              <a:ext uri="{FF2B5EF4-FFF2-40B4-BE49-F238E27FC236}">
                <a16:creationId xmlns:a16="http://schemas.microsoft.com/office/drawing/2014/main" id="{D7212000-CFEE-424E-A583-E878D971604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7288" y="4793905"/>
            <a:ext cx="533039" cy="53303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5AB5DB8E-6259-4199-A836-19123E549037}"/>
              </a:ext>
            </a:extLst>
          </p:cNvPr>
          <p:cNvSpPr/>
          <p:nvPr userDrawn="1"/>
        </p:nvSpPr>
        <p:spPr>
          <a:xfrm>
            <a:off x="6965424" y="4924333"/>
            <a:ext cx="294385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1"/>
                </a:solidFill>
              </a:rPr>
              <a:t>*Ces deux indicateurs servent à apprécier l’organisation et le fonctionnement des prises en charge sur les territoires. Ils s’apprécient au niveau d’un territoire ou d’un groupement d’acteurs en tant que reflet de la coordination Ville-hôpital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018CAB3-93A0-4BF3-9443-F487ADF1056D}"/>
              </a:ext>
            </a:extLst>
          </p:cNvPr>
          <p:cNvSpPr/>
          <p:nvPr userDrawn="1"/>
        </p:nvSpPr>
        <p:spPr>
          <a:xfrm>
            <a:off x="6280727" y="4793905"/>
            <a:ext cx="3722255" cy="1283663"/>
          </a:xfrm>
          <a:prstGeom prst="rect">
            <a:avLst/>
          </a:prstGeom>
          <a:noFill/>
          <a:ln w="9525">
            <a:solidFill>
              <a:srgbClr val="0B568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23DE7C8-49EE-48A3-BAC0-2C63E58D4B9D}"/>
              </a:ext>
            </a:extLst>
          </p:cNvPr>
          <p:cNvSpPr txBox="1"/>
          <p:nvPr userDrawn="1"/>
        </p:nvSpPr>
        <p:spPr>
          <a:xfrm>
            <a:off x="230468" y="1959125"/>
            <a:ext cx="1435395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ays de la Lo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DB20AC-5860-43E8-850E-B477668330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758" y="1510245"/>
            <a:ext cx="1435100" cy="193675"/>
          </a:xfrm>
        </p:spPr>
        <p:txBody>
          <a:bodyPr/>
          <a:lstStyle>
            <a:lvl1pPr marL="0" indent="0">
              <a:buNone/>
              <a:defRPr lang="fr-FR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00BF9632-225E-4535-9096-E388F659FC48}"/>
              </a:ext>
            </a:extLst>
          </p:cNvPr>
          <p:cNvSpPr/>
          <p:nvPr userDrawn="1"/>
        </p:nvSpPr>
        <p:spPr>
          <a:xfrm>
            <a:off x="1788701" y="1894959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118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AA8BCDD2-3C70-47D8-AC44-A3F6139BEE80}"/>
              </a:ext>
            </a:extLst>
          </p:cNvPr>
          <p:cNvSpPr/>
          <p:nvPr userDrawn="1"/>
        </p:nvSpPr>
        <p:spPr>
          <a:xfrm>
            <a:off x="1888854" y="2355273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20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9A26B5FA-0951-4E61-85DC-F6A172A6C59D}"/>
              </a:ext>
            </a:extLst>
          </p:cNvPr>
          <p:cNvSpPr/>
          <p:nvPr userDrawn="1"/>
        </p:nvSpPr>
        <p:spPr>
          <a:xfrm>
            <a:off x="1908941" y="1463382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B6A263F8-CAC5-451D-A3AA-F9CFB3FF72ED}"/>
              </a:ext>
            </a:extLst>
          </p:cNvPr>
          <p:cNvSpPr/>
          <p:nvPr userDrawn="1"/>
        </p:nvSpPr>
        <p:spPr>
          <a:xfrm>
            <a:off x="3769901" y="1894959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289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CE41AEA-5EE7-4F9C-90D8-FE4AB7A0C69F}"/>
              </a:ext>
            </a:extLst>
          </p:cNvPr>
          <p:cNvSpPr/>
          <p:nvPr userDrawn="1"/>
        </p:nvSpPr>
        <p:spPr>
          <a:xfrm>
            <a:off x="3870054" y="2355273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40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35185BA9-C7B3-40FD-ACE2-F5D1F4FCBD80}"/>
              </a:ext>
            </a:extLst>
          </p:cNvPr>
          <p:cNvSpPr/>
          <p:nvPr userDrawn="1"/>
        </p:nvSpPr>
        <p:spPr>
          <a:xfrm>
            <a:off x="3890141" y="1463382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0CDDDF01-17C7-4D24-87C0-E3F60D522189}"/>
              </a:ext>
            </a:extLst>
          </p:cNvPr>
          <p:cNvSpPr/>
          <p:nvPr userDrawn="1"/>
        </p:nvSpPr>
        <p:spPr>
          <a:xfrm>
            <a:off x="5851254" y="1924356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145</a:t>
            </a: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1355B1B-9EFE-497D-A53F-92C880021F46}"/>
              </a:ext>
            </a:extLst>
          </p:cNvPr>
          <p:cNvSpPr/>
          <p:nvPr userDrawn="1"/>
        </p:nvSpPr>
        <p:spPr>
          <a:xfrm>
            <a:off x="5951407" y="2384670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53</a:t>
            </a: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D4E5E702-1A6F-4594-9479-35CA4CDEB61D}"/>
              </a:ext>
            </a:extLst>
          </p:cNvPr>
          <p:cNvSpPr/>
          <p:nvPr userDrawn="1"/>
        </p:nvSpPr>
        <p:spPr>
          <a:xfrm>
            <a:off x="5971494" y="1492779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F9958FF-B1C0-4D6A-BA19-A7ED01696E2C}"/>
              </a:ext>
            </a:extLst>
          </p:cNvPr>
          <p:cNvSpPr/>
          <p:nvPr userDrawn="1"/>
        </p:nvSpPr>
        <p:spPr>
          <a:xfrm>
            <a:off x="1888854" y="4772148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1,8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A0421DB7-6ABD-4DB7-BC77-B6CC5DAE6B35}"/>
              </a:ext>
            </a:extLst>
          </p:cNvPr>
          <p:cNvSpPr/>
          <p:nvPr userDrawn="1"/>
        </p:nvSpPr>
        <p:spPr>
          <a:xfrm>
            <a:off x="1888854" y="4102327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72262461-9BD5-4860-8D91-3F6E954FDA64}"/>
              </a:ext>
            </a:extLst>
          </p:cNvPr>
          <p:cNvSpPr/>
          <p:nvPr userDrawn="1"/>
        </p:nvSpPr>
        <p:spPr>
          <a:xfrm>
            <a:off x="3870054" y="4803787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5,93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C01C34E5-A23B-4DB0-B2F6-8ECB6FD4A14A}"/>
              </a:ext>
            </a:extLst>
          </p:cNvPr>
          <p:cNvSpPr/>
          <p:nvPr userDrawn="1"/>
        </p:nvSpPr>
        <p:spPr>
          <a:xfrm>
            <a:off x="3870054" y="4133966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548D89ED-3E56-49E7-AAE9-C8005884E50C}"/>
              </a:ext>
            </a:extLst>
          </p:cNvPr>
          <p:cNvSpPr/>
          <p:nvPr userDrawn="1"/>
        </p:nvSpPr>
        <p:spPr>
          <a:xfrm>
            <a:off x="8097765" y="1942108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873</a:t>
            </a:r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34E44AD2-8D05-4B98-8E4E-57A6E62CB4DF}"/>
              </a:ext>
            </a:extLst>
          </p:cNvPr>
          <p:cNvSpPr/>
          <p:nvPr userDrawn="1"/>
        </p:nvSpPr>
        <p:spPr>
          <a:xfrm>
            <a:off x="8197918" y="2402422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053</a:t>
            </a: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5E8DB0FE-C35C-4891-84EE-621DC972B7E3}"/>
              </a:ext>
            </a:extLst>
          </p:cNvPr>
          <p:cNvSpPr/>
          <p:nvPr userDrawn="1"/>
        </p:nvSpPr>
        <p:spPr>
          <a:xfrm>
            <a:off x="8218005" y="1510531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ED0F8-9F69-42CB-9778-4764DA810EFA}"/>
              </a:ext>
            </a:extLst>
          </p:cNvPr>
          <p:cNvSpPr/>
          <p:nvPr userDrawn="1"/>
        </p:nvSpPr>
        <p:spPr>
          <a:xfrm>
            <a:off x="2916462" y="6767795"/>
            <a:ext cx="578699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1"/>
                </a:solidFill>
              </a:rPr>
              <a:t>Source : ASIP-Santé RPPS/ ADELI-DREES, traitements Drees - données au 1er janvier 2020 </a:t>
            </a:r>
          </a:p>
          <a:p>
            <a:r>
              <a:rPr lang="fr-FR" sz="1050" dirty="0">
                <a:solidFill>
                  <a:schemeClr val="bg1"/>
                </a:solidFill>
              </a:rPr>
              <a:t>Les données concernent tous les professionnels, indépendamment du statut et mode d’exercic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281CAD-F528-46C0-8504-F8E4B4B92040}"/>
              </a:ext>
            </a:extLst>
          </p:cNvPr>
          <p:cNvSpPr txBox="1"/>
          <p:nvPr userDrawn="1"/>
        </p:nvSpPr>
        <p:spPr>
          <a:xfrm>
            <a:off x="196702" y="4906808"/>
            <a:ext cx="1435395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France entière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(taux bruts 2019)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CA23520-76AE-4DEE-83C1-019F6F9F60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7617" y="4182554"/>
            <a:ext cx="1435100" cy="193675"/>
          </a:xfrm>
        </p:spPr>
        <p:txBody>
          <a:bodyPr/>
          <a:lstStyle>
            <a:lvl1pPr marL="0" indent="0">
              <a:buNone/>
              <a:defRPr lang="fr-FR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5C343C69-76A9-47DD-A7E6-8440CB05D3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91530" y="1455545"/>
            <a:ext cx="766650" cy="205398"/>
          </a:xfrm>
        </p:spPr>
        <p:txBody>
          <a:bodyPr/>
          <a:lstStyle>
            <a:lvl1pPr marL="0" indent="0" algn="ctr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C8FF0502-4DD0-4A47-9136-9FF53EA2BD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85733" y="1470567"/>
            <a:ext cx="766650" cy="205398"/>
          </a:xfrm>
        </p:spPr>
        <p:txBody>
          <a:bodyPr/>
          <a:lstStyle>
            <a:lvl1pPr marL="0" indent="0" algn="ctr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D7BD23CF-0C6E-4C14-800A-02CB319DA1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2169" y="1497110"/>
            <a:ext cx="766650" cy="205398"/>
          </a:xfrm>
        </p:spPr>
        <p:txBody>
          <a:bodyPr/>
          <a:lstStyle>
            <a:lvl1pPr marL="0" indent="0" algn="ctr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99F43F86-AD52-40AA-B3EB-ED9F231F23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13597" y="1485897"/>
            <a:ext cx="766650" cy="205398"/>
          </a:xfrm>
        </p:spPr>
        <p:txBody>
          <a:bodyPr/>
          <a:lstStyle>
            <a:lvl1pPr marL="0" indent="0" algn="ctr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B3FCEC9E-09FA-490A-8214-61207C286A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89285" y="4091500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59ADAC6B-139B-4867-BF74-04A425395F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54749" y="4091500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6B589AA-AFDF-489B-A8E3-9F511949B2CA}"/>
              </a:ext>
            </a:extLst>
          </p:cNvPr>
          <p:cNvSpPr txBox="1"/>
          <p:nvPr userDrawn="1"/>
        </p:nvSpPr>
        <p:spPr>
          <a:xfrm>
            <a:off x="5619033" y="3062770"/>
            <a:ext cx="2014821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ont médecins généralistes 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806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87566-4A36-4432-A883-1022A0E31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05046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87566-4A36-4432-A883-1022A0E31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3" y="324301"/>
            <a:ext cx="9622631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3" y="1254346"/>
            <a:ext cx="9622631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212614" y="7183192"/>
            <a:ext cx="1392903" cy="198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15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83807" y="7183192"/>
            <a:ext cx="3608487" cy="198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15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4557" y="7183192"/>
            <a:ext cx="775304" cy="198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15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659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56" r:id="rId2"/>
    <p:sldLayoutId id="2147483926" r:id="rId3"/>
  </p:sldLayoutIdLst>
  <p:hf hdr="0" ftr="0" dt="0"/>
  <p:txStyles>
    <p:titleStyle>
      <a:lvl1pPr algn="l" defTabSz="685445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24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47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71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94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619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75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97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419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144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22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45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68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90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614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36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59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81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7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2.xml"/><Relationship Id="rId7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8ED369D-D328-4048-ADF1-2DB0D5DDD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60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34" imgH="234" progId="TCLayout.ActiveDocument.1">
                  <p:embed/>
                </p:oleObj>
              </mc:Choice>
              <mc:Fallback>
                <p:oleObj name="think-cell Slide" r:id="rId4" imgW="234" imgH="23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8ED369D-D328-4048-ADF1-2DB0D5DDD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903BE6E-52B4-4A6E-AD09-5BD2CC7B64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8074" y="2428181"/>
            <a:ext cx="3340874" cy="711811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lang="fr-FR" dirty="0"/>
              <a:t>Restitution départementale</a:t>
            </a:r>
            <a:br>
              <a:rPr lang="fr-FR" dirty="0"/>
            </a:br>
            <a:r>
              <a:rPr lang="fr-FR" dirty="0"/>
              <a:t>Sarthe</a:t>
            </a:r>
            <a:br>
              <a:rPr lang="fr-FR" dirty="0"/>
            </a:br>
            <a:br>
              <a:rPr lang="fr-FR" dirty="0"/>
            </a:b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172318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26AABF-0C3F-4486-AA46-CE3D19FC1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724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26AABF-0C3F-4486-AA46-CE3D19FC1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ED32C161-A68F-421F-9F5C-A35922357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épartition des établissements sur le départemen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F8A472-C81E-4F90-9F6D-F52A3237EBE5}"/>
              </a:ext>
            </a:extLst>
          </p:cNvPr>
          <p:cNvGrpSpPr/>
          <p:nvPr/>
        </p:nvGrpSpPr>
        <p:grpSpPr>
          <a:xfrm>
            <a:off x="1579418" y="1551708"/>
            <a:ext cx="4562765" cy="4442692"/>
            <a:chOff x="2078182" y="1551708"/>
            <a:chExt cx="4064001" cy="398087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8492F906-3D26-4EEE-B43E-0BC5980E4B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355" t="13514" r="34781" b="17318"/>
            <a:stretch/>
          </p:blipFill>
          <p:spPr>
            <a:xfrm>
              <a:off x="2078182" y="1551708"/>
              <a:ext cx="4064001" cy="3980873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735F838-C288-414C-9647-1CD2BE36CC37}"/>
                </a:ext>
              </a:extLst>
            </p:cNvPr>
            <p:cNvGrpSpPr/>
            <p:nvPr/>
          </p:nvGrpSpPr>
          <p:grpSpPr>
            <a:xfrm>
              <a:off x="3227649" y="2821332"/>
              <a:ext cx="2389171" cy="2296706"/>
              <a:chOff x="3618462" y="2644588"/>
              <a:chExt cx="2068806" cy="1976980"/>
            </a:xfrm>
            <a:solidFill>
              <a:schemeClr val="accent3"/>
            </a:solidFill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51C743B2-6C5F-4FD6-9F27-34B9AE6FF972}"/>
                  </a:ext>
                </a:extLst>
              </p:cNvPr>
              <p:cNvSpPr/>
              <p:nvPr/>
            </p:nvSpPr>
            <p:spPr>
              <a:xfrm>
                <a:off x="4320906" y="3174730"/>
                <a:ext cx="167780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1382CCFE-9D7E-45BC-9944-629B599C85EE}"/>
                  </a:ext>
                </a:extLst>
              </p:cNvPr>
              <p:cNvSpPr/>
              <p:nvPr/>
            </p:nvSpPr>
            <p:spPr>
              <a:xfrm>
                <a:off x="3618462" y="2644588"/>
                <a:ext cx="167779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5781B1E-D8E5-4E13-AA7B-A54590AAE0C6}"/>
                  </a:ext>
                </a:extLst>
              </p:cNvPr>
              <p:cNvSpPr/>
              <p:nvPr/>
            </p:nvSpPr>
            <p:spPr>
              <a:xfrm>
                <a:off x="4839286" y="2655870"/>
                <a:ext cx="167780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296674AA-E9B4-4931-9B1A-3594B3583D47}"/>
                  </a:ext>
                </a:extLst>
              </p:cNvPr>
              <p:cNvSpPr/>
              <p:nvPr/>
            </p:nvSpPr>
            <p:spPr>
              <a:xfrm>
                <a:off x="5519488" y="3560249"/>
                <a:ext cx="167780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5E4F3FA6-952A-43BA-94B6-961FD9F6D276}"/>
                  </a:ext>
                </a:extLst>
              </p:cNvPr>
              <p:cNvSpPr/>
              <p:nvPr/>
            </p:nvSpPr>
            <p:spPr>
              <a:xfrm>
                <a:off x="4902205" y="3691055"/>
                <a:ext cx="167780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</a:t>
                </a: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7F90981B-2D95-4439-9E6B-233CB3CF3AB0}"/>
                  </a:ext>
                </a:extLst>
              </p:cNvPr>
              <p:cNvSpPr/>
              <p:nvPr/>
            </p:nvSpPr>
            <p:spPr>
              <a:xfrm>
                <a:off x="4202790" y="4437010"/>
                <a:ext cx="167780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6</a:t>
                </a: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B38E4A5-15E1-4AA2-9304-8BD309DC722F}"/>
                  </a:ext>
                </a:extLst>
              </p:cNvPr>
              <p:cNvSpPr/>
              <p:nvPr/>
            </p:nvSpPr>
            <p:spPr>
              <a:xfrm>
                <a:off x="4850900" y="4293673"/>
                <a:ext cx="167780" cy="184558"/>
              </a:xfrm>
              <a:prstGeom prst="flowChartOffpageConnector">
                <a:avLst/>
              </a:prstGeom>
              <a:grp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7</a:t>
                </a:r>
              </a:p>
            </p:txBody>
          </p: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C104D71-5EF0-4E9C-A6D4-93405E5B33B6}"/>
              </a:ext>
            </a:extLst>
          </p:cNvPr>
          <p:cNvSpPr/>
          <p:nvPr/>
        </p:nvSpPr>
        <p:spPr>
          <a:xfrm>
            <a:off x="6462523" y="3283520"/>
            <a:ext cx="3761956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1"/>
                </a:solidFill>
              </a:rPr>
              <a:t>1- CENTRE MÉDICAL G. COULON 	SITE DU MANS</a:t>
            </a:r>
          </a:p>
          <a:p>
            <a:r>
              <a:rPr lang="fr-FR" sz="1050" dirty="0">
                <a:solidFill>
                  <a:schemeClr val="bg1"/>
                </a:solidFill>
              </a:rPr>
              <a:t>2- HL SILLE LE GUILLAUME-CENTRE SOINS SUITE	PGNS </a:t>
            </a:r>
          </a:p>
          <a:p>
            <a:r>
              <a:rPr lang="fr-FR" sz="1050" dirty="0">
                <a:solidFill>
                  <a:schemeClr val="bg1"/>
                </a:solidFill>
              </a:rPr>
              <a:t>3- HL  BONNETABLE - CENTRE SOINS DE SUITE	PGNS</a:t>
            </a:r>
          </a:p>
          <a:p>
            <a:r>
              <a:rPr lang="fr-FR" sz="1050" dirty="0">
                <a:solidFill>
                  <a:schemeClr val="bg1"/>
                </a:solidFill>
              </a:rPr>
              <a:t>4- CENTRE HOSPITALIER ST CALAIS	</a:t>
            </a:r>
          </a:p>
          <a:p>
            <a:r>
              <a:rPr lang="fr-FR" sz="1050" dirty="0">
                <a:solidFill>
                  <a:schemeClr val="bg1"/>
                </a:solidFill>
              </a:rPr>
              <a:t>5- CENTRE MEDICAL G. COULON-LE GRAND LUCÉ	</a:t>
            </a:r>
          </a:p>
          <a:p>
            <a:r>
              <a:rPr lang="fr-FR" sz="1050" dirty="0">
                <a:solidFill>
                  <a:schemeClr val="bg1"/>
                </a:solidFill>
              </a:rPr>
              <a:t>6- HOPITAL FRANÇOIS DE DAILLON AU LUDE	</a:t>
            </a:r>
          </a:p>
          <a:p>
            <a:r>
              <a:rPr lang="fr-FR" sz="1050" dirty="0">
                <a:solidFill>
                  <a:schemeClr val="bg1"/>
                </a:solidFill>
              </a:rPr>
              <a:t>7- CENTRE HOSPITALIER CHATEAU DU LOIR	</a:t>
            </a:r>
          </a:p>
        </p:txBody>
      </p:sp>
    </p:spTree>
    <p:extLst>
      <p:ext uri="{BB962C8B-B14F-4D97-AF65-F5344CB8AC3E}">
        <p14:creationId xmlns:p14="http://schemas.microsoft.com/office/powerpoint/2010/main" val="3493434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26AABF-0C3F-4486-AA46-CE3D19FC1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26AABF-0C3F-4486-AA46-CE3D19FC1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F9B0CC9-D39A-43FD-A1E9-62A05DA4A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6575" y="1456521"/>
            <a:ext cx="1435100" cy="193675"/>
          </a:xfrm>
        </p:spPr>
        <p:txBody>
          <a:bodyPr/>
          <a:lstStyle/>
          <a:p>
            <a:pPr algn="ctr"/>
            <a:r>
              <a:rPr lang="fr-FR" dirty="0"/>
              <a:t>Sarthe</a:t>
            </a:r>
          </a:p>
          <a:p>
            <a:pPr algn="ctr"/>
            <a:r>
              <a:rPr lang="fr-FR" dirty="0"/>
              <a:t> (2017)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DB5E31D-FAF4-466C-AE9E-B9BEAB4712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Sarthe</a:t>
            </a:r>
          </a:p>
          <a:p>
            <a:r>
              <a:rPr lang="fr-FR" dirty="0"/>
              <a:t>(taux bruts 2019)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D8D5C5B-86B9-4C3E-A0C9-C4CF39526F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75426" y="1573266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91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956BA27-7E57-4B5E-920D-A7D9CCC244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3377" y="1553794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235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3F92036-2F30-4D89-8919-F151E65C95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21" y="1553359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118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E76C1A3-824D-4096-8CE5-9ACF7FAA6D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1118" y="1580633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859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1B81362-6EB8-4EEF-BD81-54612D9200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15375" y="4194199"/>
            <a:ext cx="766650" cy="205398"/>
          </a:xfrm>
        </p:spPr>
        <p:txBody>
          <a:bodyPr/>
          <a:lstStyle/>
          <a:p>
            <a:r>
              <a:rPr lang="fr-FR" dirty="0"/>
              <a:t>12,4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5DA2B91-381C-468C-A096-27C7C682DA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54749" y="4227028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6,50</a:t>
            </a:r>
          </a:p>
        </p:txBody>
      </p:sp>
    </p:spTree>
    <p:extLst>
      <p:ext uri="{BB962C8B-B14F-4D97-AF65-F5344CB8AC3E}">
        <p14:creationId xmlns:p14="http://schemas.microsoft.com/office/powerpoint/2010/main" val="3638272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236224C-F860-4EA8-BE94-ACCBAFA0E4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545212"/>
              </p:ext>
            </p:extLst>
          </p:nvPr>
        </p:nvGraphicFramePr>
        <p:xfrm>
          <a:off x="1392" y="774157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236224C-F860-4EA8-BE94-ACCBAFA0E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4157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45ACD42-A6D7-4A30-8AF3-7F2A2954A5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929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0CF800-CF58-427B-9BFA-83A1CCB47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Analyse départementale de la maturité des établissements sur les missions de proximité</a:t>
            </a:r>
            <a:br>
              <a:rPr lang="fr-FR" dirty="0"/>
            </a:br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ABDA0DCE-EFEC-4C1B-88C2-A556A4469B87}"/>
              </a:ext>
            </a:extLst>
          </p:cNvPr>
          <p:cNvGrpSpPr/>
          <p:nvPr/>
        </p:nvGrpSpPr>
        <p:grpSpPr>
          <a:xfrm>
            <a:off x="403869" y="5255226"/>
            <a:ext cx="3647136" cy="1490209"/>
            <a:chOff x="133178" y="5140575"/>
            <a:chExt cx="1878501" cy="1074157"/>
          </a:xfrm>
        </p:grpSpPr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23E99C1-68C4-44BB-9C84-1067E0B89A8C}"/>
                </a:ext>
              </a:extLst>
            </p:cNvPr>
            <p:cNvGrpSpPr/>
            <p:nvPr/>
          </p:nvGrpSpPr>
          <p:grpSpPr>
            <a:xfrm>
              <a:off x="331793" y="5510774"/>
              <a:ext cx="1601508" cy="332773"/>
              <a:chOff x="331794" y="5510774"/>
              <a:chExt cx="1601508" cy="332773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C053293-8375-4C28-A7AB-8B1AB47BD663}"/>
                  </a:ext>
                </a:extLst>
              </p:cNvPr>
              <p:cNvSpPr/>
              <p:nvPr/>
            </p:nvSpPr>
            <p:spPr bwMode="auto">
              <a:xfrm>
                <a:off x="331794" y="5566507"/>
                <a:ext cx="72000" cy="72000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0189" tIns="40094" rIns="80189" bIns="40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9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/>
              </a:p>
            </p:txBody>
          </p:sp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19987F6F-AF08-4AE0-9DDD-073BCFF93601}"/>
                  </a:ext>
                </a:extLst>
              </p:cNvPr>
              <p:cNvSpPr txBox="1"/>
              <p:nvPr/>
            </p:nvSpPr>
            <p:spPr>
              <a:xfrm>
                <a:off x="403793" y="5510774"/>
                <a:ext cx="1529509" cy="3327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0750" algn="just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FD200"/>
                  </a:buClr>
                  <a:buSzPct val="75000"/>
                </a:pPr>
                <a:r>
                  <a:rPr lang="fr-FR" sz="1200" kern="0" dirty="0">
                    <a:solidFill>
                      <a:srgbClr val="646464"/>
                    </a:solidFill>
                  </a:rPr>
                  <a:t>Faible niveau de maturité</a:t>
                </a:r>
              </a:p>
            </p:txBody>
          </p:sp>
        </p:grpSp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36693A31-3FCB-41EE-8E8A-5BF519CA7E05}"/>
                </a:ext>
              </a:extLst>
            </p:cNvPr>
            <p:cNvGrpSpPr/>
            <p:nvPr/>
          </p:nvGrpSpPr>
          <p:grpSpPr>
            <a:xfrm>
              <a:off x="331793" y="5762921"/>
              <a:ext cx="1418630" cy="332773"/>
              <a:chOff x="331793" y="5780921"/>
              <a:chExt cx="1418630" cy="332773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C56437C-1546-4344-B68C-F7941F561BB9}"/>
                  </a:ext>
                </a:extLst>
              </p:cNvPr>
              <p:cNvSpPr/>
              <p:nvPr/>
            </p:nvSpPr>
            <p:spPr bwMode="auto">
              <a:xfrm>
                <a:off x="331793" y="5836654"/>
                <a:ext cx="72000" cy="72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0189" tIns="40094" rIns="80189" bIns="40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9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/>
              </a:p>
            </p:txBody>
          </p:sp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A3143C5B-8C05-4BC8-AF5E-79CDC3B5A988}"/>
                  </a:ext>
                </a:extLst>
              </p:cNvPr>
              <p:cNvSpPr txBox="1"/>
              <p:nvPr/>
            </p:nvSpPr>
            <p:spPr>
              <a:xfrm>
                <a:off x="403793" y="5780921"/>
                <a:ext cx="1346630" cy="3327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0750" algn="just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FD200"/>
                  </a:buClr>
                  <a:buSzPct val="75000"/>
                </a:pPr>
                <a:r>
                  <a:rPr lang="fr-FR" sz="1200" kern="0" dirty="0">
                    <a:solidFill>
                      <a:srgbClr val="646464"/>
                    </a:solidFill>
                  </a:rPr>
                  <a:t>Maturité intermédiaire </a:t>
                </a:r>
              </a:p>
            </p:txBody>
          </p:sp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E3FDFD4-B92F-4F30-A152-D0CDFE92F054}"/>
                </a:ext>
              </a:extLst>
            </p:cNvPr>
            <p:cNvGrpSpPr/>
            <p:nvPr/>
          </p:nvGrpSpPr>
          <p:grpSpPr>
            <a:xfrm>
              <a:off x="331793" y="6015068"/>
              <a:ext cx="1679886" cy="199664"/>
              <a:chOff x="331793" y="6015068"/>
              <a:chExt cx="1679886" cy="199664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3B02C6F-0135-43F0-ADD3-E98376B99FF8}"/>
                  </a:ext>
                </a:extLst>
              </p:cNvPr>
              <p:cNvSpPr/>
              <p:nvPr/>
            </p:nvSpPr>
            <p:spPr bwMode="auto">
              <a:xfrm>
                <a:off x="331793" y="6070801"/>
                <a:ext cx="72000" cy="72000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0189" tIns="40094" rIns="80189" bIns="40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9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/>
              </a:p>
            </p:txBody>
          </p:sp>
          <p:sp>
            <p:nvSpPr>
              <p:cNvPr id="27" name="ZoneTexte 26">
                <a:extLst>
                  <a:ext uri="{FF2B5EF4-FFF2-40B4-BE49-F238E27FC236}">
                    <a16:creationId xmlns:a16="http://schemas.microsoft.com/office/drawing/2014/main" id="{455F1EE8-4E17-48A7-8F16-BDDA11A17478}"/>
                  </a:ext>
                </a:extLst>
              </p:cNvPr>
              <p:cNvSpPr txBox="1"/>
              <p:nvPr/>
            </p:nvSpPr>
            <p:spPr>
              <a:xfrm>
                <a:off x="403792" y="6015068"/>
                <a:ext cx="1607887" cy="199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0750" algn="just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FD200"/>
                  </a:buClr>
                  <a:buSzPct val="75000"/>
                </a:pPr>
                <a:r>
                  <a:rPr lang="fr-FR" sz="1200" kern="0" dirty="0">
                    <a:solidFill>
                      <a:srgbClr val="646464"/>
                    </a:solidFill>
                  </a:rPr>
                  <a:t>Haut niveau de maturité </a:t>
                </a:r>
              </a:p>
            </p:txBody>
          </p:sp>
        </p:grp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4C5D5F1A-5273-47A9-8386-11FB2B61645E}"/>
                </a:ext>
              </a:extLst>
            </p:cNvPr>
            <p:cNvSpPr txBox="1"/>
            <p:nvPr/>
          </p:nvSpPr>
          <p:spPr>
            <a:xfrm>
              <a:off x="133178" y="5140575"/>
              <a:ext cx="1750423" cy="199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0749" algn="just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</a:pPr>
              <a:r>
                <a:rPr lang="fr-FR" sz="1200" kern="0" dirty="0">
                  <a:solidFill>
                    <a:srgbClr val="646464"/>
                  </a:solidFill>
                </a:rPr>
                <a:t>Légende </a:t>
              </a:r>
            </a:p>
          </p:txBody>
        </p:sp>
      </p:grpSp>
      <p:graphicFrame>
        <p:nvGraphicFramePr>
          <p:cNvPr id="34" name="Content Placeholder 15">
            <a:extLst>
              <a:ext uri="{FF2B5EF4-FFF2-40B4-BE49-F238E27FC236}">
                <a16:creationId xmlns:a16="http://schemas.microsoft.com/office/drawing/2014/main" id="{DCC022B6-AC3D-4642-BA99-7340180EDE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927269"/>
              </p:ext>
            </p:extLst>
          </p:nvPr>
        </p:nvGraphicFramePr>
        <p:xfrm>
          <a:off x="6270738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5" name="Content Placeholder 15">
            <a:extLst>
              <a:ext uri="{FF2B5EF4-FFF2-40B4-BE49-F238E27FC236}">
                <a16:creationId xmlns:a16="http://schemas.microsoft.com/office/drawing/2014/main" id="{D379EBBC-C474-4E47-A92D-4D07B8D0BB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8345614"/>
              </p:ext>
            </p:extLst>
          </p:nvPr>
        </p:nvGraphicFramePr>
        <p:xfrm>
          <a:off x="4208443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ontent Placeholder 15">
            <a:extLst>
              <a:ext uri="{FF2B5EF4-FFF2-40B4-BE49-F238E27FC236}">
                <a16:creationId xmlns:a16="http://schemas.microsoft.com/office/drawing/2014/main" id="{16217149-8BC7-430A-9555-AB97CDD5DB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0267164"/>
              </p:ext>
            </p:extLst>
          </p:nvPr>
        </p:nvGraphicFramePr>
        <p:xfrm>
          <a:off x="2186654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3" name="Content Placeholder 15">
            <a:extLst>
              <a:ext uri="{FF2B5EF4-FFF2-40B4-BE49-F238E27FC236}">
                <a16:creationId xmlns:a16="http://schemas.microsoft.com/office/drawing/2014/main" id="{8B8B4E22-1834-4932-89BB-7A59E8A65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4456968"/>
              </p:ext>
            </p:extLst>
          </p:nvPr>
        </p:nvGraphicFramePr>
        <p:xfrm>
          <a:off x="164663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4E39956B-0931-413F-A5E7-FE036EDCC980}"/>
              </a:ext>
            </a:extLst>
          </p:cNvPr>
          <p:cNvSpPr/>
          <p:nvPr/>
        </p:nvSpPr>
        <p:spPr>
          <a:xfrm>
            <a:off x="268549" y="1509823"/>
            <a:ext cx="1914010" cy="1722475"/>
          </a:xfrm>
          <a:prstGeom prst="round2SameRect">
            <a:avLst>
              <a:gd name="adj1" fmla="val 16667"/>
              <a:gd name="adj2" fmla="val 27878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Appui au premier recours, aux professionnels de ville et autres acteurs de l’offre de soins</a:t>
            </a:r>
            <a:endParaRPr lang="fr-FR" sz="1200" dirty="0">
              <a:latin typeface="EYInterstate" panose="02000503020000020004" pitchFamily="2" charset="0"/>
            </a:endParaRP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AFC19ABF-44EC-438B-85E0-0BDD9155958E}"/>
              </a:ext>
            </a:extLst>
          </p:cNvPr>
          <p:cNvSpPr/>
          <p:nvPr/>
        </p:nvSpPr>
        <p:spPr>
          <a:xfrm>
            <a:off x="2265387" y="1509825"/>
            <a:ext cx="1914010" cy="1722473"/>
          </a:xfrm>
          <a:prstGeom prst="round2SameRect">
            <a:avLst>
              <a:gd name="adj1" fmla="val 16667"/>
              <a:gd name="adj2" fmla="val 26883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Prise en charge des personnes en situation de vulnérabilité et leur maintien dans leur lieu de vie, en liaison avec le médecin traitant</a:t>
            </a:r>
            <a:endParaRPr lang="fr-FR" sz="1200" dirty="0">
              <a:latin typeface="EYInterstate" panose="02000503020000020004" pitchFamily="2" charset="0"/>
            </a:endParaRP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090BF5CE-1CF4-4738-909A-49E56477BA92}"/>
              </a:ext>
            </a:extLst>
          </p:cNvPr>
          <p:cNvSpPr/>
          <p:nvPr/>
        </p:nvSpPr>
        <p:spPr>
          <a:xfrm>
            <a:off x="6299306" y="1525619"/>
            <a:ext cx="1914010" cy="1722473"/>
          </a:xfrm>
          <a:prstGeom prst="round2SameRect">
            <a:avLst>
              <a:gd name="adj1" fmla="val 16667"/>
              <a:gd name="adj2" fmla="val 17922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Contribution à la permanence des soins et à la continuité des prises en charge en complémentarité avec la médecine ambulatoire</a:t>
            </a:r>
            <a:endParaRPr lang="fr-FR" sz="1200" dirty="0">
              <a:latin typeface="EYInterstate" panose="02000503020000020004" pitchFamily="2" charset="0"/>
            </a:endParaRP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B12B2543-8F0C-4A4D-81D6-035CE87243FD}"/>
              </a:ext>
            </a:extLst>
          </p:cNvPr>
          <p:cNvSpPr/>
          <p:nvPr/>
        </p:nvSpPr>
        <p:spPr>
          <a:xfrm>
            <a:off x="4281341" y="1526065"/>
            <a:ext cx="1931685" cy="1722473"/>
          </a:xfrm>
          <a:prstGeom prst="round2SameRect">
            <a:avLst>
              <a:gd name="adj1" fmla="val 16667"/>
              <a:gd name="adj2" fmla="val 22900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Participation à la prévention et à la promotion de la santé </a:t>
            </a:r>
          </a:p>
        </p:txBody>
      </p:sp>
      <p:sp>
        <p:nvSpPr>
          <p:cNvPr id="48" name="Rectangle: Top Corners Rounded 47">
            <a:extLst>
              <a:ext uri="{FF2B5EF4-FFF2-40B4-BE49-F238E27FC236}">
                <a16:creationId xmlns:a16="http://schemas.microsoft.com/office/drawing/2014/main" id="{E813C7B8-8B53-4739-98D1-54D0D35A00A6}"/>
              </a:ext>
            </a:extLst>
          </p:cNvPr>
          <p:cNvSpPr/>
          <p:nvPr/>
        </p:nvSpPr>
        <p:spPr>
          <a:xfrm>
            <a:off x="8286116" y="1509826"/>
            <a:ext cx="1931686" cy="1722472"/>
          </a:xfrm>
          <a:prstGeom prst="round2SameRect">
            <a:avLst>
              <a:gd name="adj1" fmla="val 16667"/>
              <a:gd name="adj2" fmla="val 24891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Moyens disponibles pour la réalisation des missions</a:t>
            </a:r>
          </a:p>
        </p:txBody>
      </p:sp>
      <p:graphicFrame>
        <p:nvGraphicFramePr>
          <p:cNvPr id="32" name="Content Placeholder 15">
            <a:extLst>
              <a:ext uri="{FF2B5EF4-FFF2-40B4-BE49-F238E27FC236}">
                <a16:creationId xmlns:a16="http://schemas.microsoft.com/office/drawing/2014/main" id="{0500EC3F-E433-402E-92FA-F534459C40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1970630"/>
              </p:ext>
            </p:extLst>
          </p:nvPr>
        </p:nvGraphicFramePr>
        <p:xfrm>
          <a:off x="8097055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3" name="Content Placeholder 15">
            <a:extLst>
              <a:ext uri="{FF2B5EF4-FFF2-40B4-BE49-F238E27FC236}">
                <a16:creationId xmlns:a16="http://schemas.microsoft.com/office/drawing/2014/main" id="{36B3AFF8-5D90-4808-80E1-1A45BFF141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9147318"/>
              </p:ext>
            </p:extLst>
          </p:nvPr>
        </p:nvGraphicFramePr>
        <p:xfrm>
          <a:off x="8097055" y="3449755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303499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FCC1BF-FFA1-4233-9D17-2B47CFD99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FCC1BF-FFA1-4233-9D17-2B47CFD99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81D8E4-D4F2-4065-A29F-AF5CEDD92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Détail du niveau de réalisation des missions par établissement ou site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7DD273E-49D8-44A9-BA3A-C73B72553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521912"/>
              </p:ext>
            </p:extLst>
          </p:nvPr>
        </p:nvGraphicFramePr>
        <p:xfrm>
          <a:off x="1180730" y="2219417"/>
          <a:ext cx="8540317" cy="2803627"/>
        </p:xfrm>
        <a:graphic>
          <a:graphicData uri="http://schemas.openxmlformats.org/drawingml/2006/table">
            <a:tbl>
              <a:tblPr/>
              <a:tblGrid>
                <a:gridCol w="3593182">
                  <a:extLst>
                    <a:ext uri="{9D8B030D-6E8A-4147-A177-3AD203B41FA5}">
                      <a16:colId xmlns:a16="http://schemas.microsoft.com/office/drawing/2014/main" val="2365150236"/>
                    </a:ext>
                  </a:extLst>
                </a:gridCol>
                <a:gridCol w="989427">
                  <a:extLst>
                    <a:ext uri="{9D8B030D-6E8A-4147-A177-3AD203B41FA5}">
                      <a16:colId xmlns:a16="http://schemas.microsoft.com/office/drawing/2014/main" val="1575024600"/>
                    </a:ext>
                  </a:extLst>
                </a:gridCol>
                <a:gridCol w="989427">
                  <a:extLst>
                    <a:ext uri="{9D8B030D-6E8A-4147-A177-3AD203B41FA5}">
                      <a16:colId xmlns:a16="http://schemas.microsoft.com/office/drawing/2014/main" val="766137460"/>
                    </a:ext>
                  </a:extLst>
                </a:gridCol>
                <a:gridCol w="989427">
                  <a:extLst>
                    <a:ext uri="{9D8B030D-6E8A-4147-A177-3AD203B41FA5}">
                      <a16:colId xmlns:a16="http://schemas.microsoft.com/office/drawing/2014/main" val="1343268993"/>
                    </a:ext>
                  </a:extLst>
                </a:gridCol>
                <a:gridCol w="989427">
                  <a:extLst>
                    <a:ext uri="{9D8B030D-6E8A-4147-A177-3AD203B41FA5}">
                      <a16:colId xmlns:a16="http://schemas.microsoft.com/office/drawing/2014/main" val="3197903017"/>
                    </a:ext>
                  </a:extLst>
                </a:gridCol>
                <a:gridCol w="989427">
                  <a:extLst>
                    <a:ext uri="{9D8B030D-6E8A-4147-A177-3AD203B41FA5}">
                      <a16:colId xmlns:a16="http://schemas.microsoft.com/office/drawing/2014/main" val="403762222"/>
                    </a:ext>
                  </a:extLst>
                </a:gridCol>
              </a:tblGrid>
              <a:tr h="568171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 structu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ui 1</a:t>
                      </a:r>
                      <a:r>
                        <a:rPr lang="fr-FR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</a:t>
                      </a:r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cour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C Personnes vulnérabl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éventio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manence des soin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yen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514717"/>
                  </a:ext>
                </a:extLst>
              </a:tr>
              <a:tr h="298309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E HOSPITALIER CHATEAU DU LOI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729721"/>
                  </a:ext>
                </a:extLst>
              </a:tr>
              <a:tr h="298309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E HOSPITALIER ST CALAI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76046"/>
                  </a:ext>
                </a:extLst>
              </a:tr>
              <a:tr h="298309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E MÉDICAL G. COULON  - LE MA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51290"/>
                  </a:ext>
                </a:extLst>
              </a:tr>
              <a:tr h="445602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E MEDICAL G. COULON-LE GRAND LUCÉ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8070990"/>
                  </a:ext>
                </a:extLst>
              </a:tr>
              <a:tr h="298309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PITAL FRANÇOIS DE DAILLON AU LUD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171818"/>
                  </a:ext>
                </a:extLst>
              </a:tr>
              <a:tr h="298309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  BONNETABLE - CENTRE SOINS DE SUI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832215"/>
                  </a:ext>
                </a:extLst>
              </a:tr>
              <a:tr h="298309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 SILLE LE GUILLAUME-CENTRE SOINS SUI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76576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8938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B09EAA-F4CA-48C6-8984-563E7193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924940"/>
              </p:ext>
            </p:extLst>
          </p:nvPr>
        </p:nvGraphicFramePr>
        <p:xfrm>
          <a:off x="1392" y="774157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B09EAA-F4CA-48C6-8984-563E7193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4157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301B010-A807-46CF-B5AA-C6BCED4055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929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C0D04-7950-400E-B233-E53C2A52E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Collaborations entre établissements et CPT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70C01E2-133D-42C0-8462-AFC0F36BCC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2933"/>
              </p:ext>
            </p:extLst>
          </p:nvPr>
        </p:nvGraphicFramePr>
        <p:xfrm>
          <a:off x="520813" y="2041761"/>
          <a:ext cx="3940351" cy="362192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5276">
                  <a:extLst>
                    <a:ext uri="{9D8B030D-6E8A-4147-A177-3AD203B41FA5}">
                      <a16:colId xmlns:a16="http://schemas.microsoft.com/office/drawing/2014/main" val="2040050504"/>
                    </a:ext>
                  </a:extLst>
                </a:gridCol>
                <a:gridCol w="2815075">
                  <a:extLst>
                    <a:ext uri="{9D8B030D-6E8A-4147-A177-3AD203B41FA5}">
                      <a16:colId xmlns:a16="http://schemas.microsoft.com/office/drawing/2014/main" val="2624426336"/>
                    </a:ext>
                  </a:extLst>
                </a:gridCol>
              </a:tblGrid>
              <a:tr h="714889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solidFill>
                            <a:schemeClr val="tx1"/>
                          </a:solidFill>
                        </a:rPr>
                        <a:t>CPT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188C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solidFill>
                            <a:schemeClr val="tx1"/>
                          </a:solidFill>
                        </a:rPr>
                        <a:t>E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188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378697"/>
                  </a:ext>
                </a:extLst>
              </a:tr>
              <a:tr h="881372">
                <a:tc>
                  <a:txBody>
                    <a:bodyPr/>
                    <a:lstStyle/>
                    <a:p>
                      <a:r>
                        <a:rPr lang="fr-FR" sz="1400" dirty="0">
                          <a:solidFill>
                            <a:schemeClr val="bg1"/>
                          </a:solidFill>
                        </a:rPr>
                        <a:t>CPTS Le Mans Agglo</a:t>
                      </a:r>
                    </a:p>
                  </a:txBody>
                  <a:tcPr anchor="ctr">
                    <a:solidFill>
                      <a:srgbClr val="E2F2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solidFill>
                            <a:schemeClr val="bg1"/>
                          </a:solidFill>
                        </a:rPr>
                        <a:t>Centre médical G. Coulon (site du Mans)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274779"/>
                  </a:ext>
                </a:extLst>
              </a:tr>
              <a:tr h="942856">
                <a:tc>
                  <a:txBody>
                    <a:bodyPr/>
                    <a:lstStyle/>
                    <a:p>
                      <a:r>
                        <a:rPr lang="fr-FR" sz="1400" dirty="0">
                          <a:solidFill>
                            <a:schemeClr val="bg1"/>
                          </a:solidFill>
                        </a:rPr>
                        <a:t>CPTS du Maine</a:t>
                      </a:r>
                    </a:p>
                  </a:txBody>
                  <a:tcPr anchor="ctr">
                    <a:solidFill>
                      <a:srgbClr val="E2F2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solidFill>
                            <a:schemeClr val="bg1"/>
                          </a:solidFill>
                        </a:rPr>
                        <a:t>HL de Sillé le Guillaume</a:t>
                      </a:r>
                    </a:p>
                    <a:p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fr-FR" sz="1400" dirty="0" err="1">
                          <a:solidFill>
                            <a:schemeClr val="bg1"/>
                          </a:solidFill>
                        </a:rPr>
                        <a:t>Hopital</a:t>
                      </a:r>
                      <a:r>
                        <a:rPr lang="fr-FR" sz="1400" dirty="0">
                          <a:solidFill>
                            <a:schemeClr val="bg1"/>
                          </a:solidFill>
                        </a:rPr>
                        <a:t> local Villaines La </a:t>
                      </a:r>
                      <a:r>
                        <a:rPr lang="fr-FR" sz="1400" dirty="0" err="1">
                          <a:solidFill>
                            <a:schemeClr val="bg1"/>
                          </a:solidFill>
                        </a:rPr>
                        <a:t>Juhel</a:t>
                      </a:r>
                      <a:r>
                        <a:rPr lang="fr-FR" sz="1400" dirty="0">
                          <a:solidFill>
                            <a:schemeClr val="bg1"/>
                          </a:solidFill>
                        </a:rPr>
                        <a:t> (53)</a:t>
                      </a: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502475"/>
                  </a:ext>
                </a:extLst>
              </a:tr>
              <a:tr h="1082806">
                <a:tc>
                  <a:txBody>
                    <a:bodyPr/>
                    <a:lstStyle/>
                    <a:p>
                      <a:r>
                        <a:rPr lang="fr-FR" sz="1400" i="0" dirty="0">
                          <a:solidFill>
                            <a:schemeClr val="bg1"/>
                          </a:solidFill>
                        </a:rPr>
                        <a:t>CPTS Val d’Huisne (projet)</a:t>
                      </a:r>
                    </a:p>
                  </a:txBody>
                  <a:tcPr anchor="ctr">
                    <a:solidFill>
                      <a:srgbClr val="E2F2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0" dirty="0">
                          <a:solidFill>
                            <a:schemeClr val="bg1"/>
                          </a:solidFill>
                        </a:rPr>
                        <a:t>Pas d’ES</a:t>
                      </a: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00447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6E76944-3408-4A06-B248-ED11E6C2F9DD}"/>
              </a:ext>
            </a:extLst>
          </p:cNvPr>
          <p:cNvSpPr txBox="1"/>
          <p:nvPr/>
        </p:nvSpPr>
        <p:spPr>
          <a:xfrm>
            <a:off x="520813" y="1409328"/>
            <a:ext cx="3922473" cy="4555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600" dirty="0">
                <a:solidFill>
                  <a:schemeClr val="bg1"/>
                </a:solidFill>
              </a:rPr>
              <a:t>Détail des correspondances CPTS – ES </a:t>
            </a:r>
            <a:r>
              <a:rPr lang="fr-FR" sz="1600">
                <a:solidFill>
                  <a:schemeClr val="bg1"/>
                </a:solidFill>
              </a:rPr>
              <a:t>de l’étude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646039-CE4E-470E-BC25-01641F346F64}"/>
              </a:ext>
            </a:extLst>
          </p:cNvPr>
          <p:cNvSpPr txBox="1"/>
          <p:nvPr/>
        </p:nvSpPr>
        <p:spPr>
          <a:xfrm>
            <a:off x="4965882" y="1409328"/>
            <a:ext cx="4448689" cy="28315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defRPr sz="1600" b="0" i="0" u="none" strike="noStrike" kern="1200" spc="0" baseline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pPr>
            <a:r>
              <a:rPr lang="fr-FR" sz="1600" dirty="0"/>
              <a:t>Etat des collaborations entre CPTS et ES étudié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49AA4FD-55D3-4F6A-844C-CDC2ED8011A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37" t="16508" r="35339" b="17124"/>
          <a:stretch/>
        </p:blipFill>
        <p:spPr>
          <a:xfrm>
            <a:off x="4989700" y="1790840"/>
            <a:ext cx="3337250" cy="3330429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92F294F-3ECC-4283-B0C2-AB586D64E817}"/>
              </a:ext>
            </a:extLst>
          </p:cNvPr>
          <p:cNvSpPr/>
          <p:nvPr/>
        </p:nvSpPr>
        <p:spPr>
          <a:xfrm>
            <a:off x="6516403" y="3324589"/>
            <a:ext cx="167780" cy="184558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/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94CBD93-F1AA-4C94-826F-C89AD69C2451}"/>
              </a:ext>
            </a:extLst>
          </p:cNvPr>
          <p:cNvSpPr/>
          <p:nvPr/>
        </p:nvSpPr>
        <p:spPr>
          <a:xfrm>
            <a:off x="7067602" y="2693369"/>
            <a:ext cx="167780" cy="184558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4F39DA1-9714-46CE-9E3A-C553597D263F}"/>
              </a:ext>
            </a:extLst>
          </p:cNvPr>
          <p:cNvSpPr/>
          <p:nvPr/>
        </p:nvSpPr>
        <p:spPr>
          <a:xfrm>
            <a:off x="7812355" y="3639193"/>
            <a:ext cx="167780" cy="184558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bg2"/>
                </a:solidFill>
              </a:rPr>
              <a:t>4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0BC9335-72B8-4CC7-8940-EC28FB7E429A}"/>
              </a:ext>
            </a:extLst>
          </p:cNvPr>
          <p:cNvGrpSpPr/>
          <p:nvPr/>
        </p:nvGrpSpPr>
        <p:grpSpPr>
          <a:xfrm>
            <a:off x="7122568" y="3808299"/>
            <a:ext cx="209725" cy="261610"/>
            <a:chOff x="620785" y="808762"/>
            <a:chExt cx="209725" cy="26161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375AB33-45BD-4C93-A836-F90A3A0B8B47}"/>
                </a:ext>
              </a:extLst>
            </p:cNvPr>
            <p:cNvSpPr/>
            <p:nvPr/>
          </p:nvSpPr>
          <p:spPr>
            <a:xfrm>
              <a:off x="662730" y="847288"/>
              <a:ext cx="167780" cy="184558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10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35B59A4-49E9-4CDF-9514-BB1C279924F2}"/>
                </a:ext>
              </a:extLst>
            </p:cNvPr>
            <p:cNvSpPr txBox="1"/>
            <p:nvPr/>
          </p:nvSpPr>
          <p:spPr>
            <a:xfrm>
              <a:off x="620785" y="808762"/>
              <a:ext cx="20972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/>
                <a:t>4       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FEACA7F-A45A-45E8-AAE3-A6C77CE3E1C3}"/>
              </a:ext>
            </a:extLst>
          </p:cNvPr>
          <p:cNvGrpSpPr/>
          <p:nvPr/>
        </p:nvGrpSpPr>
        <p:grpSpPr>
          <a:xfrm>
            <a:off x="6369595" y="4594759"/>
            <a:ext cx="209725" cy="261610"/>
            <a:chOff x="620785" y="808762"/>
            <a:chExt cx="209725" cy="26161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F428A58-F5DE-4525-AA14-12256D5AF103}"/>
                </a:ext>
              </a:extLst>
            </p:cNvPr>
            <p:cNvSpPr/>
            <p:nvPr/>
          </p:nvSpPr>
          <p:spPr>
            <a:xfrm>
              <a:off x="662730" y="847288"/>
              <a:ext cx="167780" cy="184558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10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D6F11CB-1E88-47E1-A85D-38A4380A6673}"/>
                </a:ext>
              </a:extLst>
            </p:cNvPr>
            <p:cNvSpPr txBox="1"/>
            <p:nvPr/>
          </p:nvSpPr>
          <p:spPr>
            <a:xfrm>
              <a:off x="620785" y="808762"/>
              <a:ext cx="20972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/>
                <a:t>5       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D9F4398-F55A-4862-8AC0-3C9CA9D5796E}"/>
              </a:ext>
            </a:extLst>
          </p:cNvPr>
          <p:cNvGrpSpPr/>
          <p:nvPr/>
        </p:nvGrpSpPr>
        <p:grpSpPr>
          <a:xfrm>
            <a:off x="7017705" y="4451421"/>
            <a:ext cx="209725" cy="261610"/>
            <a:chOff x="620785" y="808762"/>
            <a:chExt cx="209725" cy="26161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85F00CB-8285-4331-B547-333CE1178AEE}"/>
                </a:ext>
              </a:extLst>
            </p:cNvPr>
            <p:cNvSpPr/>
            <p:nvPr/>
          </p:nvSpPr>
          <p:spPr>
            <a:xfrm>
              <a:off x="662730" y="847288"/>
              <a:ext cx="167780" cy="184558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10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B9644BC-CDAE-49F9-B611-24BBB0F9A2B3}"/>
                </a:ext>
              </a:extLst>
            </p:cNvPr>
            <p:cNvSpPr txBox="1"/>
            <p:nvPr/>
          </p:nvSpPr>
          <p:spPr>
            <a:xfrm>
              <a:off x="620785" y="808762"/>
              <a:ext cx="20972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/>
                <a:t>6       </a:t>
              </a: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A00394A2-7847-4B40-BA4D-7B9A1D819241}"/>
              </a:ext>
            </a:extLst>
          </p:cNvPr>
          <p:cNvSpPr/>
          <p:nvPr/>
        </p:nvSpPr>
        <p:spPr>
          <a:xfrm>
            <a:off x="5836356" y="2811957"/>
            <a:ext cx="77469" cy="77786"/>
          </a:xfrm>
          <a:prstGeom prst="ellipse">
            <a:avLst/>
          </a:prstGeom>
          <a:solidFill>
            <a:srgbClr val="63B8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9EED6CC-17BF-4A5F-BC07-54730696977D}"/>
              </a:ext>
            </a:extLst>
          </p:cNvPr>
          <p:cNvSpPr/>
          <p:nvPr/>
        </p:nvSpPr>
        <p:spPr>
          <a:xfrm>
            <a:off x="7163438" y="3849957"/>
            <a:ext cx="167780" cy="184558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18D681E-E824-483C-95F3-8B4E7E178648}"/>
              </a:ext>
            </a:extLst>
          </p:cNvPr>
          <p:cNvSpPr/>
          <p:nvPr/>
        </p:nvSpPr>
        <p:spPr>
          <a:xfrm>
            <a:off x="6421448" y="4651308"/>
            <a:ext cx="167780" cy="184558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bg2"/>
                </a:solidFill>
              </a:rPr>
              <a:t>6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613A92E7-27EF-42FC-94E8-57EF82496AF9}"/>
              </a:ext>
            </a:extLst>
          </p:cNvPr>
          <p:cNvSpPr/>
          <p:nvPr/>
        </p:nvSpPr>
        <p:spPr>
          <a:xfrm>
            <a:off x="7073031" y="4496048"/>
            <a:ext cx="167780" cy="184558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bg2"/>
                </a:solidFill>
              </a:rPr>
              <a:t>7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E1D6621-D7D3-4D16-A6F7-C1913965B2E0}"/>
              </a:ext>
            </a:extLst>
          </p:cNvPr>
          <p:cNvGrpSpPr/>
          <p:nvPr/>
        </p:nvGrpSpPr>
        <p:grpSpPr>
          <a:xfrm>
            <a:off x="5060334" y="5114128"/>
            <a:ext cx="3818842" cy="944655"/>
            <a:chOff x="5760700" y="5915236"/>
            <a:chExt cx="3818842" cy="94465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BFBB413-443D-4AE9-B765-D2E8CE2A8986}"/>
                </a:ext>
              </a:extLst>
            </p:cNvPr>
            <p:cNvGrpSpPr/>
            <p:nvPr/>
          </p:nvGrpSpPr>
          <p:grpSpPr>
            <a:xfrm>
              <a:off x="5861405" y="6146068"/>
              <a:ext cx="3718137" cy="713823"/>
              <a:chOff x="5861405" y="6093519"/>
              <a:chExt cx="3718137" cy="713823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530434C5-1488-490B-AFBD-72B41C508A61}"/>
                  </a:ext>
                </a:extLst>
              </p:cNvPr>
              <p:cNvGrpSpPr/>
              <p:nvPr/>
            </p:nvGrpSpPr>
            <p:grpSpPr>
              <a:xfrm>
                <a:off x="5863432" y="6665514"/>
                <a:ext cx="2282212" cy="141828"/>
                <a:chOff x="8998825" y="4392542"/>
                <a:chExt cx="2282212" cy="141828"/>
              </a:xfrm>
            </p:grpSpPr>
            <p:sp>
              <p:nvSpPr>
                <p:cNvPr id="63" name="ZoneTexte 24">
                  <a:extLst>
                    <a:ext uri="{FF2B5EF4-FFF2-40B4-BE49-F238E27FC236}">
                      <a16:creationId xmlns:a16="http://schemas.microsoft.com/office/drawing/2014/main" id="{C6D42391-6A51-4589-9C1B-74A06F91A5AD}"/>
                    </a:ext>
                  </a:extLst>
                </p:cNvPr>
                <p:cNvSpPr txBox="1"/>
                <p:nvPr/>
              </p:nvSpPr>
              <p:spPr>
                <a:xfrm>
                  <a:off x="9348967" y="4395871"/>
                  <a:ext cx="193207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fontAlgn="base">
                    <a:spcBef>
                      <a:spcPct val="20000"/>
                    </a:spcBef>
                    <a:spcAft>
                      <a:spcPts val="300"/>
                    </a:spcAft>
                    <a:buClr>
                      <a:srgbClr val="FFD200"/>
                    </a:buClr>
                    <a:buSzPct val="75000"/>
                    <a:defRPr/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Commune dans une CTPS</a:t>
                  </a:r>
                </a:p>
              </p:txBody>
            </p:sp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1ED8F0C6-BF70-482A-A025-C21A143EDD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8825" y="4392542"/>
                  <a:ext cx="285765" cy="115973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9A8AF607-2128-41A6-B891-E791A996ACC0}"/>
                  </a:ext>
                </a:extLst>
              </p:cNvPr>
              <p:cNvGrpSpPr/>
              <p:nvPr/>
            </p:nvGrpSpPr>
            <p:grpSpPr>
              <a:xfrm>
                <a:off x="5861405" y="6093519"/>
                <a:ext cx="3718137" cy="584775"/>
                <a:chOff x="6832132" y="4329684"/>
                <a:chExt cx="3718137" cy="584775"/>
              </a:xfrm>
            </p:grpSpPr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3B748B04-70E9-4945-8DA8-4D5C05EB9A2C}"/>
                    </a:ext>
                  </a:extLst>
                </p:cNvPr>
                <p:cNvSpPr txBox="1"/>
                <p:nvPr/>
              </p:nvSpPr>
              <p:spPr>
                <a:xfrm>
                  <a:off x="6906730" y="4329684"/>
                  <a:ext cx="3643539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spcAft>
                      <a:spcPts val="300"/>
                    </a:spcAft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ES non impliqués dans des CPTS</a:t>
                  </a:r>
                </a:p>
                <a:p>
                  <a:pPr>
                    <a:spcAft>
                      <a:spcPts val="300"/>
                    </a:spcAft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ES en relation avec une CPTS mais sans action conjointe</a:t>
                  </a:r>
                </a:p>
                <a:p>
                  <a:pPr>
                    <a:spcAft>
                      <a:spcPts val="300"/>
                    </a:spcAft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Collaboration effective ES-CPTS</a:t>
                  </a:r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CFB3A644-CD9C-44E0-BEFD-1AC22A674CC1}"/>
                    </a:ext>
                  </a:extLst>
                </p:cNvPr>
                <p:cNvSpPr/>
                <p:nvPr/>
              </p:nvSpPr>
              <p:spPr>
                <a:xfrm>
                  <a:off x="6832132" y="4387670"/>
                  <a:ext cx="100705" cy="115973"/>
                </a:xfrm>
                <a:prstGeom prst="rect">
                  <a:avLst/>
                </a:prstGeom>
                <a:noFill/>
                <a:ln w="9525">
                  <a:solidFill>
                    <a:schemeClr val="bg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997414DC-310A-4AC9-B323-740CAB7403B3}"/>
                    </a:ext>
                  </a:extLst>
                </p:cNvPr>
                <p:cNvSpPr/>
                <p:nvPr/>
              </p:nvSpPr>
              <p:spPr>
                <a:xfrm>
                  <a:off x="6832132" y="4554545"/>
                  <a:ext cx="100705" cy="115973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solidFill>
                    <a:schemeClr val="bg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97CB2CC0-5BEB-4CE5-AB54-14CFE5DA78B3}"/>
                    </a:ext>
                  </a:extLst>
                </p:cNvPr>
                <p:cNvSpPr/>
                <p:nvPr/>
              </p:nvSpPr>
              <p:spPr>
                <a:xfrm>
                  <a:off x="6834159" y="4724982"/>
                  <a:ext cx="100705" cy="115973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bg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A2AAB5C-EB96-479A-A7B8-622A634607A2}"/>
                </a:ext>
              </a:extLst>
            </p:cNvPr>
            <p:cNvSpPr txBox="1"/>
            <p:nvPr/>
          </p:nvSpPr>
          <p:spPr>
            <a:xfrm>
              <a:off x="5760700" y="5915236"/>
              <a:ext cx="364353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fr-FR" sz="900" u="sng" dirty="0">
                  <a:solidFill>
                    <a:schemeClr val="bg1"/>
                  </a:solidFill>
                </a:rPr>
                <a:t>Légende :</a:t>
              </a:r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2265721A-6D43-48AA-9902-0E880909431B}"/>
              </a:ext>
            </a:extLst>
          </p:cNvPr>
          <p:cNvSpPr/>
          <p:nvPr/>
        </p:nvSpPr>
        <p:spPr>
          <a:xfrm>
            <a:off x="5776981" y="2798301"/>
            <a:ext cx="167780" cy="184558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/>
              <a:t>2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08E6957-168A-4A93-8269-62C9239C0D6A}"/>
              </a:ext>
            </a:extLst>
          </p:cNvPr>
          <p:cNvSpPr/>
          <p:nvPr/>
        </p:nvSpPr>
        <p:spPr>
          <a:xfrm>
            <a:off x="8396198" y="2305772"/>
            <a:ext cx="2258118" cy="2516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1"/>
                </a:solidFill>
              </a:rPr>
              <a:t>1- CENTRE MÉDICAL G. COULON SITE DU MANS</a:t>
            </a:r>
          </a:p>
          <a:p>
            <a:r>
              <a:rPr lang="fr-FR" sz="1050" dirty="0">
                <a:solidFill>
                  <a:schemeClr val="bg1"/>
                </a:solidFill>
              </a:rPr>
              <a:t>2- HL SILLE LE GUILLAUME-CENTRE SOINS SUITE - PGNS </a:t>
            </a:r>
          </a:p>
          <a:p>
            <a:r>
              <a:rPr lang="fr-FR" sz="1050" dirty="0">
                <a:solidFill>
                  <a:schemeClr val="bg1"/>
                </a:solidFill>
              </a:rPr>
              <a:t>3- HL  BONNETABLE - CENTRE SOINS DE SUITE	PGNS</a:t>
            </a:r>
          </a:p>
          <a:p>
            <a:r>
              <a:rPr lang="fr-FR" sz="1050" dirty="0">
                <a:solidFill>
                  <a:schemeClr val="bg1"/>
                </a:solidFill>
              </a:rPr>
              <a:t>4- CENTRE HOSPITALIER ST CALAIS	</a:t>
            </a:r>
          </a:p>
          <a:p>
            <a:r>
              <a:rPr lang="fr-FR" sz="1050" dirty="0">
                <a:solidFill>
                  <a:schemeClr val="bg1"/>
                </a:solidFill>
              </a:rPr>
              <a:t>5- CENTRE MEDICAL G. COULON-LE GRAND LUCÉ	</a:t>
            </a:r>
          </a:p>
          <a:p>
            <a:r>
              <a:rPr lang="fr-FR" sz="1050" dirty="0">
                <a:solidFill>
                  <a:schemeClr val="bg1"/>
                </a:solidFill>
              </a:rPr>
              <a:t>6- HOPITAL FRANÇOIS DE DAILLON AU LUDE</a:t>
            </a:r>
          </a:p>
          <a:p>
            <a:r>
              <a:rPr lang="fr-FR" sz="1050" dirty="0">
                <a:solidFill>
                  <a:schemeClr val="bg1"/>
                </a:solidFill>
              </a:rPr>
              <a:t>7- CENTRE HOSPITALIER CHATEAU DU LOIR	</a:t>
            </a:r>
          </a:p>
        </p:txBody>
      </p:sp>
    </p:spTree>
    <p:extLst>
      <p:ext uri="{BB962C8B-B14F-4D97-AF65-F5344CB8AC3E}">
        <p14:creationId xmlns:p14="http://schemas.microsoft.com/office/powerpoint/2010/main" val="1128870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B09EAA-F4CA-48C6-8984-563E7193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805632"/>
              </p:ext>
            </p:extLst>
          </p:nvPr>
        </p:nvGraphicFramePr>
        <p:xfrm>
          <a:off x="1392" y="774157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B09EAA-F4CA-48C6-8984-563E7193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4157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301B010-A807-46CF-B5AA-C6BCED4055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929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C0D04-7950-400E-B233-E53C2A52E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etour des focus groups départementaux 1/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7387AA-ABAD-40DA-9F69-EC1346B00A90}"/>
              </a:ext>
            </a:extLst>
          </p:cNvPr>
          <p:cNvSpPr txBox="1"/>
          <p:nvPr/>
        </p:nvSpPr>
        <p:spPr>
          <a:xfrm>
            <a:off x="5477884" y="1701241"/>
            <a:ext cx="4853895" cy="539224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1. </a:t>
            </a:r>
            <a:r>
              <a:rPr lang="fr-FR" sz="1200" b="1" dirty="0">
                <a:solidFill>
                  <a:schemeClr val="bg1"/>
                </a:solidFill>
              </a:rPr>
              <a:t>Communiquer / informer / animer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roblématique de démographie médicale aussi très forte pour les établissements et ouverture à des solutions innovantes mix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lusieurs établissements de proximité non couverts par une CPTS sur le départe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ES disposés à jouer un rôle de facilitateur auprès des professionnels dans les territoires non couverts par une CPTS, en lien avec les équipes de soins primaires (ESP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Informer les élus et aligner les initiatives relatives à la démographie médicale. </a:t>
            </a:r>
          </a:p>
          <a:p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r>
              <a:rPr lang="fr-FR" sz="1200" b="1" dirty="0">
                <a:solidFill>
                  <a:schemeClr val="bg1"/>
                </a:solidFill>
              </a:rPr>
              <a:t>2. Coordination des parcours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Forte implication des ES sur le parcours des personnes âgées: attentes fortes à l’égard des CPTS / 1er recours pour optimiser le parcours et limiter le recours aux urgen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ossibilité de mettre à disposition des plateaux techniques pour la médecine de ville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Disposés à être facilitateur pour la mise en œuvre d’une offre de spécialités notamment via la télémédecine mais ressources médicales faible dans les 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Intérêt à développer des ressources IPA / IDEC en temps partagé avec ville</a:t>
            </a:r>
          </a:p>
          <a:p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r>
              <a:rPr lang="fr-FR" sz="1200" b="1" dirty="0">
                <a:solidFill>
                  <a:schemeClr val="bg1"/>
                </a:solidFill>
              </a:rPr>
              <a:t>3. Gouvernance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a CPTS doit rester à l’initiative des libéraux: CH facilitateur ou copilo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ortage conjoint de projets de territoire avec la CPTS locale / les professionnels de santé: facteur d’attractivité médicale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74A5D5-0D48-409F-90D7-3E721FD81F26}"/>
              </a:ext>
            </a:extLst>
          </p:cNvPr>
          <p:cNvSpPr/>
          <p:nvPr/>
        </p:nvSpPr>
        <p:spPr>
          <a:xfrm>
            <a:off x="334407" y="1825652"/>
            <a:ext cx="4747466" cy="507831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1. </a:t>
            </a:r>
            <a:r>
              <a:rPr lang="fr-FR" sz="1200" b="1" dirty="0">
                <a:solidFill>
                  <a:schemeClr val="bg1"/>
                </a:solidFill>
              </a:rPr>
              <a:t>Communiquer / informer / animer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Démographie médicale sous très forte tens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roblème de recrutement: difficulté à fixer les interne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Besoin de communiquer sur des modèles innovants qui permettent de libérer du temps médical et ont fait leurs preuves: protocoles IDE / généralistes en MSP</a:t>
            </a:r>
          </a:p>
          <a:p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r>
              <a:rPr lang="fr-FR" sz="1200" b="1" dirty="0">
                <a:solidFill>
                  <a:schemeClr val="bg1"/>
                </a:solidFill>
              </a:rPr>
              <a:t>2. Coordination des parcours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riorité donnée au parcours des personnes âgée: repérage à domicile et prévention des ruptures en sortie d’hospital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Extension à d’autres infra territoires du suivi à domicile des PA en appui sur protocole IDE salariées – MG libéraux déjà en place au sein de la MSP Simone Veil (Pôle de santé de la Ferté Bernar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Besoin de formaliser la coordination entre professionnels du 1</a:t>
            </a:r>
            <a:r>
              <a:rPr lang="fr-FR" sz="1200" baseline="30000" dirty="0">
                <a:solidFill>
                  <a:schemeClr val="bg1"/>
                </a:solidFill>
              </a:rPr>
              <a:t>er</a:t>
            </a:r>
            <a:r>
              <a:rPr lang="fr-FR" sz="1200" dirty="0">
                <a:solidFill>
                  <a:schemeClr val="bg1"/>
                </a:solidFill>
              </a:rPr>
              <a:t> recours (médecin, paramédicaux, pharmacien) en parallèle à la coordination ville hôpit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Attentes fortes en termes d’accès rapide des consultations spécialisées via télémédecine en appui sur les établissements de proximité</a:t>
            </a:r>
          </a:p>
          <a:p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r>
              <a:rPr lang="fr-FR" sz="1200" b="1" dirty="0">
                <a:solidFill>
                  <a:schemeClr val="bg1"/>
                </a:solidFill>
              </a:rPr>
              <a:t>3. Gouvernance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Des CPTS intègrent déjà des hôpitaux (de proximité ou non) dans l’un de leurs collè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Des instances de discussion CPTS-hôpitaux existent déjà avec les CH mais pas toujours avec l’établissement de proximité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Département fragilisé et besoin de capitaliser sur d’autres expériences en rég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C36F75-4AD1-46A9-8A2C-65795B7DAEB5}"/>
              </a:ext>
            </a:extLst>
          </p:cNvPr>
          <p:cNvSpPr/>
          <p:nvPr/>
        </p:nvSpPr>
        <p:spPr>
          <a:xfrm>
            <a:off x="334407" y="1121526"/>
            <a:ext cx="4708110" cy="5812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njeux des CPT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929925-B8C1-49DB-9B40-4333FB43CBDD}"/>
              </a:ext>
            </a:extLst>
          </p:cNvPr>
          <p:cNvSpPr/>
          <p:nvPr/>
        </p:nvSpPr>
        <p:spPr>
          <a:xfrm>
            <a:off x="5477884" y="1121526"/>
            <a:ext cx="4853896" cy="5812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njeux des établissement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839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544212-4E66-42E6-8699-3DFAB8639F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697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544212-4E66-42E6-8699-3DFAB8639F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F5182B-4AA6-49DB-BBF0-8BC4A3C1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etour des focus groups départementaux 2/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D7009-F66D-4E17-9BEF-E772999A7927}"/>
              </a:ext>
            </a:extLst>
          </p:cNvPr>
          <p:cNvSpPr/>
          <p:nvPr/>
        </p:nvSpPr>
        <p:spPr>
          <a:xfrm>
            <a:off x="640999" y="2038343"/>
            <a:ext cx="91622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Problématique majeure de la démographie médicale (donc accès aux soins) touche la ville et les établissements: traiter le problème conjointement en lien avec les élus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Du fait des difficultés partagées, souhait conjoint d’innovation organisationnelle a) en soins de 1</a:t>
            </a:r>
            <a:r>
              <a:rPr lang="fr-FR" sz="1400" baseline="30000" dirty="0">
                <a:solidFill>
                  <a:schemeClr val="bg1"/>
                </a:solidFill>
              </a:rPr>
              <a:t>er</a:t>
            </a:r>
            <a:r>
              <a:rPr lang="fr-FR" sz="1400" dirty="0">
                <a:solidFill>
                  <a:schemeClr val="bg1"/>
                </a:solidFill>
              </a:rPr>
              <a:t> recours b) au sein des ES et c) via des postes et protocoles et outils partagés =&gt; rôles des IDE +++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Accès aux soins spécialisés et au plateau technique via la télémédecine… et si besoin en recourant à des ressources externes au département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Priorisation du parcours des PA: 1) réponse au besoin populationnel prioritaire 2) levier le plus fort pour libérer du temps médical et suivre plus de patients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Besoin d’améliorer la couverture en CPTS sur le territoire et à défaut s’appuyer sur ESP ou MSP avec le support des ES (pas uniquement les </a:t>
            </a:r>
            <a:r>
              <a:rPr lang="fr-FR" sz="1400">
                <a:solidFill>
                  <a:schemeClr val="bg1"/>
                </a:solidFill>
              </a:rPr>
              <a:t>HP).</a:t>
            </a: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DAC33C-B046-4A2B-8942-AE71372D0F74}"/>
              </a:ext>
            </a:extLst>
          </p:cNvPr>
          <p:cNvSpPr/>
          <p:nvPr/>
        </p:nvSpPr>
        <p:spPr>
          <a:xfrm>
            <a:off x="768040" y="1412169"/>
            <a:ext cx="4191418" cy="5812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nsensus</a:t>
            </a:r>
            <a:endParaRPr lang="fr-FR" sz="1600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2CE7E534-573F-4FD1-B260-FD6D0E7B0F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064589"/>
              </p:ext>
            </p:extLst>
          </p:nvPr>
        </p:nvGraphicFramePr>
        <p:xfrm>
          <a:off x="768039" y="5644840"/>
          <a:ext cx="8918401" cy="708279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4206917">
                  <a:extLst>
                    <a:ext uri="{9D8B030D-6E8A-4147-A177-3AD203B41FA5}">
                      <a16:colId xmlns:a16="http://schemas.microsoft.com/office/drawing/2014/main" val="1467164891"/>
                    </a:ext>
                  </a:extLst>
                </a:gridCol>
                <a:gridCol w="4711484">
                  <a:extLst>
                    <a:ext uri="{9D8B030D-6E8A-4147-A177-3AD203B41FA5}">
                      <a16:colId xmlns:a16="http://schemas.microsoft.com/office/drawing/2014/main" val="19895521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Les spécialités remontées par les professionnels de santé comme étant les plus en tension dans le département (issu des questionnaires)</a:t>
                      </a: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1"/>
                          </a:solidFill>
                        </a:rPr>
                        <a:t>Neurologie, ophtalmologie, gérontopsychiatrie, diabétologie, cardiologie, dermatologie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670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8207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bS2VP8hF8qYXLiOKSf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bS2VP8hF8qYXLiOKSf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0lxD5wicbz77JxeCnlZA"/>
</p:tagLst>
</file>

<file path=ppt/theme/theme1.xml><?xml version="1.0" encoding="utf-8"?>
<a:theme xmlns:a="http://schemas.openxmlformats.org/drawingml/2006/main" name="EY light background">
  <a:themeElements>
    <a:clrScheme name="Custom 9">
      <a:dk1>
        <a:srgbClr val="FFFFFF"/>
      </a:dk1>
      <a:lt1>
        <a:srgbClr val="2E2E38"/>
      </a:lt1>
      <a:dk2>
        <a:srgbClr val="FFD2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4574EAB34DC442A477D532E90F4A39" ma:contentTypeVersion="6" ma:contentTypeDescription="Crée un document." ma:contentTypeScope="" ma:versionID="df62ba265b34214c8b1930f450d94574">
  <xsd:schema xmlns:xsd="http://www.w3.org/2001/XMLSchema" xmlns:xs="http://www.w3.org/2001/XMLSchema" xmlns:p="http://schemas.microsoft.com/office/2006/metadata/properties" xmlns:ns2="132020fc-2e11-4887-9112-7c8429f13f6b" targetNamespace="http://schemas.microsoft.com/office/2006/metadata/properties" ma:root="true" ma:fieldsID="842a7ff873ff145044cf52f35dc906a7" ns2:_="">
    <xsd:import namespace="132020fc-2e11-4887-9112-7c8429f13f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2020fc-2e11-4887-9112-7c8429f13f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06A9EB-6E6D-41B6-9AF2-40F0438F39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053A0D-205D-4A95-A5D6-EEFF9F2C3F4F}">
  <ds:schemaRefs>
    <ds:schemaRef ds:uri="http://schemas.microsoft.com/office/2006/documentManagement/types"/>
    <ds:schemaRef ds:uri="http://schemas.microsoft.com/office/infopath/2007/PartnerControls"/>
    <ds:schemaRef ds:uri="132020fc-2e11-4887-9112-7c8429f13f6b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3C028D1-805C-441D-A3C4-5153CCAC07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32020fc-2e11-4887-9112-7c8429f13f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 regular presentation 2015 v1</Template>
  <TotalTime>0</TotalTime>
  <Words>1028</Words>
  <Application>Microsoft Office PowerPoint</Application>
  <PresentationFormat>Custom</PresentationFormat>
  <Paragraphs>13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EYInterstate</vt:lpstr>
      <vt:lpstr>EYInterstate Light</vt:lpstr>
      <vt:lpstr>EY light background</vt:lpstr>
      <vt:lpstr>think-cell Slide</vt:lpstr>
      <vt:lpstr>Restitution départementale Sarthe  </vt:lpstr>
      <vt:lpstr>Répartition des établissements sur le département</vt:lpstr>
      <vt:lpstr>PowerPoint Presentation</vt:lpstr>
      <vt:lpstr>Analyse départementale de la maturité des établissements sur les missions de proximité </vt:lpstr>
      <vt:lpstr>Détail du niveau de réalisation des missions par établissement ou site</vt:lpstr>
      <vt:lpstr>Collaborations entre établissements et CPTS</vt:lpstr>
      <vt:lpstr>Retour des focus groups départementaux 1/2</vt:lpstr>
      <vt:lpstr>retour des focus groups départementaux 2/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itution départementale Sarthe  </dc:title>
  <dc:creator/>
  <cp:keywords/>
  <cp:lastModifiedBy/>
  <cp:revision>5</cp:revision>
  <dcterms:created xsi:type="dcterms:W3CDTF">2016-12-19T11:32:50Z</dcterms:created>
  <dcterms:modified xsi:type="dcterms:W3CDTF">2021-05-27T10:45:1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4574EAB34DC442A477D532E90F4A39</vt:lpwstr>
  </property>
</Properties>
</file>